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4"/>
    <p:sldMasterId id="2147483699" r:id="rId5"/>
    <p:sldMasterId id="2147483697" r:id="rId6"/>
    <p:sldMasterId id="2147483691" r:id="rId7"/>
    <p:sldMasterId id="2147483688" r:id="rId8"/>
    <p:sldMasterId id="2147483693" r:id="rId9"/>
    <p:sldMasterId id="2147483695" r:id="rId10"/>
    <p:sldMasterId id="2147483716" r:id="rId11"/>
  </p:sldMasterIdLst>
  <p:notesMasterIdLst>
    <p:notesMasterId r:id="rId36"/>
  </p:notesMasterIdLst>
  <p:sldIdLst>
    <p:sldId id="256" r:id="rId12"/>
    <p:sldId id="12016" r:id="rId13"/>
    <p:sldId id="268" r:id="rId14"/>
    <p:sldId id="835" r:id="rId15"/>
    <p:sldId id="11993" r:id="rId16"/>
    <p:sldId id="11994" r:id="rId17"/>
    <p:sldId id="12005" r:id="rId18"/>
    <p:sldId id="315" r:id="rId19"/>
    <p:sldId id="11999" r:id="rId20"/>
    <p:sldId id="324" r:id="rId21"/>
    <p:sldId id="12002" r:id="rId22"/>
    <p:sldId id="838" r:id="rId23"/>
    <p:sldId id="309" r:id="rId24"/>
    <p:sldId id="11998" r:id="rId25"/>
    <p:sldId id="12003" r:id="rId26"/>
    <p:sldId id="12000" r:id="rId27"/>
    <p:sldId id="12012" r:id="rId28"/>
    <p:sldId id="12014" r:id="rId29"/>
    <p:sldId id="12007" r:id="rId30"/>
    <p:sldId id="12020" r:id="rId31"/>
    <p:sldId id="12017" r:id="rId32"/>
    <p:sldId id="12018" r:id="rId33"/>
    <p:sldId id="11995" r:id="rId34"/>
    <p:sldId id="961" r:id="rId35"/>
  </p:sldIdLst>
  <p:sldSz cx="9144000" cy="514826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RETTE,Paul" initials="SY" lastIdx="1" clrIdx="0">
    <p:extLst>
      <p:ext uri="{19B8F6BF-5375-455C-9EA6-DF929625EA0E}">
        <p15:presenceInfo xmlns:p15="http://schemas.microsoft.com/office/powerpoint/2012/main" userId="S::paul.syrette@dese.gov.au::c1b3ea23-7d60-4b43-8761-33cffc7b9304" providerId="AD"/>
      </p:ext>
    </p:extLst>
  </p:cmAuthor>
  <p:cmAuthor id="2" name="ANTONIUS,Nicky" initials="AN" lastIdx="2" clrIdx="1">
    <p:extLst>
      <p:ext uri="{19B8F6BF-5375-455C-9EA6-DF929625EA0E}">
        <p15:presenceInfo xmlns:p15="http://schemas.microsoft.com/office/powerpoint/2012/main" userId="S::nicky.antonius@dese.gov.au::7b411165-a54d-48a5-9500-510bb851a772" providerId="AD"/>
      </p:ext>
    </p:extLst>
  </p:cmAuthor>
  <p:cmAuthor id="3" name="BOUNDY,Michelle" initials="B" lastIdx="18" clrIdx="2">
    <p:extLst>
      <p:ext uri="{19B8F6BF-5375-455C-9EA6-DF929625EA0E}">
        <p15:presenceInfo xmlns:p15="http://schemas.microsoft.com/office/powerpoint/2012/main" userId="S::Michelle.Boundy@dese.gov.au::fd950c22-edc5-451b-a33e-945558fbe713" providerId="AD"/>
      </p:ext>
    </p:extLst>
  </p:cmAuthor>
  <p:cmAuthor id="4" name="TRAN,QUYEN" initials="T" lastIdx="9" clrIdx="3">
    <p:extLst>
      <p:ext uri="{19B8F6BF-5375-455C-9EA6-DF929625EA0E}">
        <p15:presenceInfo xmlns:p15="http://schemas.microsoft.com/office/powerpoint/2012/main" userId="S::QUYEN.TRAN@dese.gov.au::a37eee3b-4a8e-4a38-afd3-a4fdcf457a68" providerId="AD"/>
      </p:ext>
    </p:extLst>
  </p:cmAuthor>
  <p:cmAuthor id="5" name="OLIVER,Jessica" initials="O" lastIdx="21" clrIdx="4">
    <p:extLst>
      <p:ext uri="{19B8F6BF-5375-455C-9EA6-DF929625EA0E}">
        <p15:presenceInfo xmlns:p15="http://schemas.microsoft.com/office/powerpoint/2012/main" userId="S::Jessica.Oliver@dese.gov.au::e126ddc4-8858-48ce-9b3e-7752484a76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5DF0B"/>
    <a:srgbClr val="6EC6AA"/>
    <a:srgbClr val="0F3C40"/>
    <a:srgbClr val="66FF66"/>
    <a:srgbClr val="287CB2"/>
    <a:srgbClr val="0070C0"/>
    <a:srgbClr val="F2601E"/>
    <a:srgbClr val="F48072"/>
    <a:srgbClr val="002D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4302"/>
    <p:restoredTop sz="70388" autoAdjust="0"/>
  </p:normalViewPr>
  <p:slideViewPr>
    <p:cSldViewPr snapToGrid="0">
      <p:cViewPr varScale="1">
        <p:scale>
          <a:sx n="106" d="100"/>
          <a:sy n="106" d="100"/>
        </p:scale>
        <p:origin x="1842" y="90"/>
      </p:cViewPr>
      <p:guideLst>
        <p:guide orient="horz" pos="162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s3487\Downloads\RFFR%20Tracker%20as%20at%2014th%20octob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200"/>
              <a:t>Medium/Large </a:t>
            </a:r>
          </a:p>
          <a:p>
            <a:pPr>
              <a:defRPr/>
            </a:pPr>
            <a:r>
              <a:rPr lang="en-AU" sz="1200"/>
              <a:t>Employment Service Provider Accreditation Statu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616-4880-8698-DC25ECA59330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616-4880-8698-DC25ECA5933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616-4880-8698-DC25ECA5933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3:$I$5</c:f>
              <c:strCache>
                <c:ptCount val="3"/>
                <c:pt idx="0">
                  <c:v>Accredited </c:v>
                </c:pt>
                <c:pt idx="1">
                  <c:v>In Review</c:v>
                </c:pt>
                <c:pt idx="2">
                  <c:v>Overdue Submissions</c:v>
                </c:pt>
              </c:strCache>
            </c:strRef>
          </c:cat>
          <c:val>
            <c:numRef>
              <c:f>Sheet1!$J$3:$J$5</c:f>
              <c:numCache>
                <c:formatCode>General</c:formatCode>
                <c:ptCount val="3"/>
                <c:pt idx="0">
                  <c:v>32</c:v>
                </c:pt>
                <c:pt idx="1">
                  <c:v>24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16-4880-8698-DC25ECA5933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39289776"/>
        <c:axId val="1390338912"/>
      </c:barChart>
      <c:catAx>
        <c:axId val="839289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0338912"/>
        <c:crosses val="autoZero"/>
        <c:auto val="1"/>
        <c:lblAlgn val="ctr"/>
        <c:lblOffset val="100"/>
        <c:noMultiLvlLbl val="0"/>
      </c:catAx>
      <c:valAx>
        <c:axId val="139033891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9289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5" dt="2021-10-13T11:43:43.381" idx="9">
    <p:pos x="10" y="10"/>
    <p:text>Add further information here re Sally's point: 
"We suggest that the presentation look at it through the eyes of a provider, and that the presentation does a walkthrough of how a provider will connect to ESS Web as of 1 July 2022.  How will they log in?  Will we still have DESE allocated user ids?  Will we still manage our own passwords?  How will the role of the OSC change? "</p:text>
    <p:extLst>
      <p:ext uri="{C676402C-5697-4E1C-873F-D02D1690AC5C}">
        <p15:threadingInfo xmlns:p15="http://schemas.microsoft.com/office/powerpoint/2012/main" timeZoneBias="-6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8F842-560F-42A5-A306-F766D7D6B80D}" type="datetimeFigureOut">
              <a:rPr lang="en-AU" smtClean="0"/>
              <a:t>20/10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D3FCEB-6CB7-4478-9568-E9785AFEA6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98103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06500"/>
            <a:ext cx="594677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820444"/>
            <a:ext cx="5486400" cy="360045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kern="1200" dirty="0">
              <a:solidFill>
                <a:schemeClr val="bg2">
                  <a:lumMod val="10000"/>
                </a:schemeClr>
              </a:solidFill>
              <a:effectLst/>
              <a:latin typeface="Calibri" panose="020F0502020204030204" pitchFamily="34" charset="0"/>
              <a:ea typeface="+mn-ea"/>
              <a:cs typeface="Calibri" panose="020F0502020204030204" pitchFamily="34" charset="0"/>
              <a:sym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D5F324-394E-4911-80B4-719EEEAB65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1F909182-EEC2-4736-8AB9-163EAF181F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252947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14898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961597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3FCEB-6CB7-4478-9568-E9785AFEA658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70482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642579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327775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223940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035893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3FCEB-6CB7-4478-9568-E9785AFEA658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19836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3FCEB-6CB7-4478-9568-E9785AFEA658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67408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1867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AU" kern="1200" dirty="0">
              <a:solidFill>
                <a:schemeClr val="bg2">
                  <a:lumMod val="10000"/>
                </a:schemeClr>
              </a:solidFill>
              <a:effectLst/>
              <a:cs typeface="Calibri" panose="020F0502020204030204" pitchFamily="34" charset="0"/>
              <a:sym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43F61-8C8C-4934-8D11-EC5AEEDAD9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‌OFFICIAL‌​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80D3682E-4C19-4E64-A450-D63C507CF7A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291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661638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b="0" i="0" u="none" strike="noStrike" kern="1200" baseline="0" dirty="0"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21110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endParaRPr lang="en-AU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01595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6448565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25624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endParaRPr lang="en-AU" sz="1200" u="none" strike="noStrike" kern="1200" dirty="0">
              <a:solidFill>
                <a:schemeClr val="tx1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3FCEB-6CB7-4478-9568-E9785AFEA658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454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3FCEB-6CB7-4478-9568-E9785AFEA658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8098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2189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42525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67419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2DFF9C-AC88-4CD8-88E6-F5C4F40ECF57}" type="slidenum">
              <a:rPr lang="en-AU" smtClean="0">
                <a:solidFill>
                  <a:prstClr val="black"/>
                </a:solidFill>
              </a:rPr>
              <a:pPr/>
              <a:t>8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734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2DFF9C-AC88-4CD8-88E6-F5C4F40ECF57}" type="slidenum">
              <a:rPr lang="en-AU" smtClean="0">
                <a:solidFill>
                  <a:prstClr val="black"/>
                </a:solidFill>
              </a:rPr>
              <a:pPr/>
              <a:t>9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506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4000" y="2044800"/>
            <a:ext cx="6858000" cy="457323"/>
          </a:xfrm>
        </p:spPr>
        <p:txBody>
          <a:bodyPr lIns="0" tIns="0" rIns="0" bIns="0" anchor="t" anchorCtr="0">
            <a:normAutofit/>
          </a:bodyPr>
          <a:lstStyle>
            <a:lvl1pPr algn="l">
              <a:defRPr sz="25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of the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4000" y="2574000"/>
            <a:ext cx="6858000" cy="432179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AU" b="1">
                <a:solidFill>
                  <a:schemeClr val="bg2"/>
                </a:solidFill>
              </a:rPr>
              <a:t>Subtitle style  </a:t>
            </a:r>
            <a:r>
              <a:rPr lang="en-AU" b="1">
                <a:solidFill>
                  <a:srgbClr val="E9A913"/>
                </a:solidFill>
              </a:rPr>
              <a:t>|</a:t>
            </a:r>
            <a:r>
              <a:rPr lang="en-AU" b="1">
                <a:solidFill>
                  <a:schemeClr val="bg2"/>
                </a:solidFill>
              </a:rPr>
              <a:t>  et </a:t>
            </a:r>
            <a:r>
              <a:rPr lang="en-AU" b="1" err="1">
                <a:solidFill>
                  <a:schemeClr val="bg2"/>
                </a:solidFill>
              </a:rPr>
              <a:t>milliaea</a:t>
            </a:r>
            <a:r>
              <a:rPr lang="en-AU" b="1">
                <a:solidFill>
                  <a:schemeClr val="bg2"/>
                </a:solidFill>
              </a:rPr>
              <a:t> </a:t>
            </a:r>
            <a:r>
              <a:rPr lang="en-AU" b="1" err="1">
                <a:solidFill>
                  <a:schemeClr val="bg2"/>
                </a:solidFill>
              </a:rPr>
              <a:t>doluptatur</a:t>
            </a:r>
            <a:r>
              <a:rPr lang="en-AU" b="1">
                <a:solidFill>
                  <a:schemeClr val="bg2"/>
                </a:solidFill>
              </a:rPr>
              <a:t>  </a:t>
            </a:r>
            <a:r>
              <a:rPr lang="en-AU" b="1">
                <a:solidFill>
                  <a:srgbClr val="E9A913"/>
                </a:solidFill>
              </a:rPr>
              <a:t>|</a:t>
            </a:r>
            <a:r>
              <a:rPr lang="en-AU" b="1">
                <a:solidFill>
                  <a:schemeClr val="bg2"/>
                </a:solidFill>
              </a:rPr>
              <a:t>  as </a:t>
            </a:r>
            <a:r>
              <a:rPr lang="en-AU" b="1" err="1">
                <a:solidFill>
                  <a:schemeClr val="bg2"/>
                </a:solidFill>
              </a:rPr>
              <a:t>molupti</a:t>
            </a:r>
            <a:r>
              <a:rPr lang="en-AU" b="1">
                <a:solidFill>
                  <a:schemeClr val="bg2"/>
                </a:solidFill>
              </a:rPr>
              <a:t> </a:t>
            </a:r>
            <a:r>
              <a:rPr lang="en-AU" b="1" err="1">
                <a:solidFill>
                  <a:schemeClr val="bg2"/>
                </a:solidFill>
              </a:rPr>
              <a:t>oribus</a:t>
            </a:r>
            <a:endParaRPr lang="en-AU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144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1023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6700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13133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520576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11764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736AB-07F7-4AB2-A214-A28D7E113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FC8D74C-FFAD-44D9-8C21-E6BE6DA82BF5}"/>
              </a:ext>
            </a:extLst>
          </p:cNvPr>
          <p:cNvSpPr/>
          <p:nvPr userDrawn="1"/>
        </p:nvSpPr>
        <p:spPr>
          <a:xfrm>
            <a:off x="971600" y="1710035"/>
            <a:ext cx="1045557" cy="1045557"/>
          </a:xfrm>
          <a:prstGeom prst="ellipse">
            <a:avLst/>
          </a:prstGeom>
          <a:solidFill>
            <a:srgbClr val="D7D8D8"/>
          </a:solidFill>
          <a:ln>
            <a:noFill/>
          </a:ln>
          <a:effectLst>
            <a:outerShdw blurRad="38100" dist="38100" dir="2700000" sx="98000" sy="98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55262E2-0900-426C-87E2-D26872F88BFE}"/>
              </a:ext>
            </a:extLst>
          </p:cNvPr>
          <p:cNvSpPr/>
          <p:nvPr userDrawn="1"/>
        </p:nvSpPr>
        <p:spPr>
          <a:xfrm>
            <a:off x="2915816" y="1710035"/>
            <a:ext cx="1045557" cy="1045557"/>
          </a:xfrm>
          <a:prstGeom prst="ellipse">
            <a:avLst/>
          </a:prstGeom>
          <a:solidFill>
            <a:srgbClr val="D7D8D8"/>
          </a:solidFill>
          <a:ln>
            <a:noFill/>
          </a:ln>
          <a:effectLst>
            <a:outerShdw blurRad="38100" dist="38100" dir="2700000" sx="98000" sy="98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1EE1EEA-9BF3-4096-A097-13CA47D047BD}"/>
              </a:ext>
            </a:extLst>
          </p:cNvPr>
          <p:cNvSpPr/>
          <p:nvPr userDrawn="1"/>
        </p:nvSpPr>
        <p:spPr>
          <a:xfrm>
            <a:off x="4860032" y="1710035"/>
            <a:ext cx="1045557" cy="1045557"/>
          </a:xfrm>
          <a:prstGeom prst="ellipse">
            <a:avLst/>
          </a:prstGeom>
          <a:solidFill>
            <a:srgbClr val="D7D8D8"/>
          </a:solidFill>
          <a:ln>
            <a:noFill/>
          </a:ln>
          <a:effectLst>
            <a:outerShdw blurRad="38100" dist="38100" dir="2700000" sx="98000" sy="98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7F1C8EE-E137-4A8C-806D-D0C1ED659B5D}"/>
              </a:ext>
            </a:extLst>
          </p:cNvPr>
          <p:cNvSpPr/>
          <p:nvPr userDrawn="1"/>
        </p:nvSpPr>
        <p:spPr>
          <a:xfrm>
            <a:off x="6804248" y="1710035"/>
            <a:ext cx="1045557" cy="1045557"/>
          </a:xfrm>
          <a:prstGeom prst="ellipse">
            <a:avLst/>
          </a:prstGeom>
          <a:solidFill>
            <a:srgbClr val="D7D8D8"/>
          </a:solidFill>
          <a:ln>
            <a:noFill/>
          </a:ln>
          <a:effectLst>
            <a:outerShdw blurRad="38100" dist="38100" dir="2700000" sx="98000" sy="98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81A025-6249-4130-8466-58041BED02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3122652"/>
            <a:ext cx="1882775" cy="1546225"/>
          </a:xfr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AU" dirty="0" err="1"/>
              <a:t>Dolor</a:t>
            </a:r>
            <a:r>
              <a:rPr lang="en-AU" dirty="0"/>
              <a:t> sit </a:t>
            </a:r>
            <a:r>
              <a:rPr lang="en-AU" dirty="0" err="1"/>
              <a:t>amet</a:t>
            </a:r>
            <a:r>
              <a:rPr lang="en-AU" dirty="0"/>
              <a:t>, </a:t>
            </a:r>
            <a:r>
              <a:rPr lang="en-AU" dirty="0" err="1"/>
              <a:t>consectetur</a:t>
            </a:r>
            <a:r>
              <a:rPr lang="en-AU" dirty="0"/>
              <a:t> </a:t>
            </a:r>
            <a:r>
              <a:rPr lang="en-AU" dirty="0" err="1"/>
              <a:t>adipiscing</a:t>
            </a:r>
            <a:r>
              <a:rPr lang="en-AU" dirty="0"/>
              <a:t> </a:t>
            </a:r>
            <a:r>
              <a:rPr lang="en-AU" dirty="0" err="1"/>
              <a:t>elit</a:t>
            </a:r>
            <a:r>
              <a:rPr lang="en-AU" dirty="0"/>
              <a:t>, sed do </a:t>
            </a:r>
            <a:r>
              <a:rPr lang="en-AU" dirty="0" err="1"/>
              <a:t>eiusmod</a:t>
            </a:r>
            <a:r>
              <a:rPr lang="en-AU" dirty="0"/>
              <a:t> </a:t>
            </a:r>
            <a:r>
              <a:rPr lang="en-AU" dirty="0" err="1"/>
              <a:t>tempor</a:t>
            </a:r>
            <a:r>
              <a:rPr lang="en-AU" dirty="0"/>
              <a:t> </a:t>
            </a:r>
            <a:r>
              <a:rPr lang="en-AU" dirty="0" err="1"/>
              <a:t>incididunt</a:t>
            </a:r>
            <a:r>
              <a:rPr lang="en-AU" dirty="0"/>
              <a:t>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labore</a:t>
            </a:r>
            <a:r>
              <a:rPr lang="en-AU" dirty="0"/>
              <a:t> et dolore magna </a:t>
            </a:r>
            <a:r>
              <a:rPr lang="en-AU" dirty="0" err="1"/>
              <a:t>aliqua</a:t>
            </a:r>
            <a:r>
              <a:rPr lang="en-AU" dirty="0"/>
              <a:t>. Ut </a:t>
            </a:r>
            <a:r>
              <a:rPr lang="en-AU" dirty="0" err="1"/>
              <a:t>enim</a:t>
            </a:r>
            <a:r>
              <a:rPr lang="en-AU" dirty="0"/>
              <a:t> ad minim </a:t>
            </a:r>
            <a:r>
              <a:rPr lang="en-AU" dirty="0" err="1"/>
              <a:t>veniam</a:t>
            </a:r>
            <a:r>
              <a:rPr lang="en-AU" dirty="0"/>
              <a:t>, </a:t>
            </a:r>
            <a:r>
              <a:rPr lang="en-AU" dirty="0" err="1"/>
              <a:t>quis</a:t>
            </a:r>
            <a:r>
              <a:rPr lang="en-AU" dirty="0"/>
              <a:t> </a:t>
            </a:r>
            <a:r>
              <a:rPr lang="en-AU" dirty="0" err="1"/>
              <a:t>nostrud</a:t>
            </a:r>
            <a:r>
              <a:rPr lang="en-AU" dirty="0"/>
              <a:t> exercitation </a:t>
            </a:r>
            <a:r>
              <a:rPr lang="en-AU" dirty="0" err="1"/>
              <a:t>ullamco</a:t>
            </a:r>
            <a:r>
              <a:rPr lang="en-AU" dirty="0"/>
              <a:t> </a:t>
            </a:r>
            <a:r>
              <a:rPr lang="en-AU" dirty="0" err="1"/>
              <a:t>laboris</a:t>
            </a:r>
            <a:r>
              <a:rPr lang="en-AU" dirty="0"/>
              <a:t> nisi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aliquip</a:t>
            </a:r>
            <a:r>
              <a:rPr lang="en-AU" dirty="0"/>
              <a:t> ex </a:t>
            </a:r>
            <a:r>
              <a:rPr lang="en-AU" dirty="0" err="1"/>
              <a:t>ea</a:t>
            </a:r>
            <a:r>
              <a:rPr lang="en-AU" dirty="0"/>
              <a:t> </a:t>
            </a:r>
            <a:r>
              <a:rPr lang="en-AU" dirty="0" err="1"/>
              <a:t>commodo</a:t>
            </a:r>
            <a:r>
              <a:rPr lang="en-AU" dirty="0"/>
              <a:t> </a:t>
            </a:r>
            <a:r>
              <a:rPr lang="en-AU" dirty="0" err="1"/>
              <a:t>consequat</a:t>
            </a:r>
            <a:r>
              <a:rPr lang="en-AU" dirty="0"/>
              <a:t>.</a:t>
            </a:r>
          </a:p>
          <a:p>
            <a:pPr lvl="0"/>
            <a:endParaRPr lang="en-AU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270E165C-15F3-4C64-80C0-8C444A935A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97206" y="3122651"/>
            <a:ext cx="1882775" cy="1546225"/>
          </a:xfr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AU" dirty="0" err="1"/>
              <a:t>Dolor</a:t>
            </a:r>
            <a:r>
              <a:rPr lang="en-AU" dirty="0"/>
              <a:t> sit </a:t>
            </a:r>
            <a:r>
              <a:rPr lang="en-AU" dirty="0" err="1"/>
              <a:t>amet</a:t>
            </a:r>
            <a:r>
              <a:rPr lang="en-AU" dirty="0"/>
              <a:t>, </a:t>
            </a:r>
            <a:r>
              <a:rPr lang="en-AU" dirty="0" err="1"/>
              <a:t>consectetur</a:t>
            </a:r>
            <a:r>
              <a:rPr lang="en-AU" dirty="0"/>
              <a:t> </a:t>
            </a:r>
            <a:r>
              <a:rPr lang="en-AU" dirty="0" err="1"/>
              <a:t>adipiscing</a:t>
            </a:r>
            <a:r>
              <a:rPr lang="en-AU" dirty="0"/>
              <a:t> </a:t>
            </a:r>
            <a:r>
              <a:rPr lang="en-AU" dirty="0" err="1"/>
              <a:t>elit</a:t>
            </a:r>
            <a:r>
              <a:rPr lang="en-AU" dirty="0"/>
              <a:t>, sed do </a:t>
            </a:r>
            <a:r>
              <a:rPr lang="en-AU" dirty="0" err="1"/>
              <a:t>eiusmod</a:t>
            </a:r>
            <a:r>
              <a:rPr lang="en-AU" dirty="0"/>
              <a:t> </a:t>
            </a:r>
            <a:r>
              <a:rPr lang="en-AU" dirty="0" err="1"/>
              <a:t>tempor</a:t>
            </a:r>
            <a:r>
              <a:rPr lang="en-AU" dirty="0"/>
              <a:t> </a:t>
            </a:r>
            <a:r>
              <a:rPr lang="en-AU" dirty="0" err="1"/>
              <a:t>incididunt</a:t>
            </a:r>
            <a:r>
              <a:rPr lang="en-AU" dirty="0"/>
              <a:t>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labore</a:t>
            </a:r>
            <a:r>
              <a:rPr lang="en-AU" dirty="0"/>
              <a:t> et dolore magna </a:t>
            </a:r>
            <a:r>
              <a:rPr lang="en-AU" dirty="0" err="1"/>
              <a:t>aliqua</a:t>
            </a:r>
            <a:r>
              <a:rPr lang="en-AU" dirty="0"/>
              <a:t>. Ut </a:t>
            </a:r>
            <a:r>
              <a:rPr lang="en-AU" dirty="0" err="1"/>
              <a:t>enim</a:t>
            </a:r>
            <a:r>
              <a:rPr lang="en-AU" dirty="0"/>
              <a:t> ad minim </a:t>
            </a:r>
            <a:r>
              <a:rPr lang="en-AU" dirty="0" err="1"/>
              <a:t>veniam</a:t>
            </a:r>
            <a:r>
              <a:rPr lang="en-AU" dirty="0"/>
              <a:t>, </a:t>
            </a:r>
            <a:r>
              <a:rPr lang="en-AU" dirty="0" err="1"/>
              <a:t>quis</a:t>
            </a:r>
            <a:r>
              <a:rPr lang="en-AU" dirty="0"/>
              <a:t> </a:t>
            </a:r>
            <a:r>
              <a:rPr lang="en-AU" dirty="0" err="1"/>
              <a:t>nostrud</a:t>
            </a:r>
            <a:r>
              <a:rPr lang="en-AU" dirty="0"/>
              <a:t> exercitation </a:t>
            </a:r>
            <a:r>
              <a:rPr lang="en-AU" dirty="0" err="1"/>
              <a:t>ullamco</a:t>
            </a:r>
            <a:r>
              <a:rPr lang="en-AU" dirty="0"/>
              <a:t> </a:t>
            </a:r>
            <a:r>
              <a:rPr lang="en-AU" dirty="0" err="1"/>
              <a:t>laboris</a:t>
            </a:r>
            <a:r>
              <a:rPr lang="en-AU" dirty="0"/>
              <a:t> nisi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aliquip</a:t>
            </a:r>
            <a:r>
              <a:rPr lang="en-AU" dirty="0"/>
              <a:t> ex </a:t>
            </a:r>
            <a:r>
              <a:rPr lang="en-AU" dirty="0" err="1"/>
              <a:t>ea</a:t>
            </a:r>
            <a:r>
              <a:rPr lang="en-AU" dirty="0"/>
              <a:t> </a:t>
            </a:r>
            <a:r>
              <a:rPr lang="en-AU" dirty="0" err="1"/>
              <a:t>commodo</a:t>
            </a:r>
            <a:r>
              <a:rPr lang="en-AU" dirty="0"/>
              <a:t> </a:t>
            </a:r>
            <a:r>
              <a:rPr lang="en-AU" dirty="0" err="1"/>
              <a:t>consequat</a:t>
            </a:r>
            <a:r>
              <a:rPr lang="en-AU" dirty="0"/>
              <a:t>.</a:t>
            </a:r>
          </a:p>
          <a:p>
            <a:pPr lvl="0"/>
            <a:endParaRPr lang="en-AU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D0C1BCB-DD00-439B-8DF4-9F9DD0FD76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1422" y="3122650"/>
            <a:ext cx="1882775" cy="1546225"/>
          </a:xfr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AU" dirty="0" err="1"/>
              <a:t>Dolor</a:t>
            </a:r>
            <a:r>
              <a:rPr lang="en-AU" dirty="0"/>
              <a:t> sit </a:t>
            </a:r>
            <a:r>
              <a:rPr lang="en-AU" dirty="0" err="1"/>
              <a:t>amet</a:t>
            </a:r>
            <a:r>
              <a:rPr lang="en-AU" dirty="0"/>
              <a:t>, </a:t>
            </a:r>
            <a:r>
              <a:rPr lang="en-AU" dirty="0" err="1"/>
              <a:t>consectetur</a:t>
            </a:r>
            <a:r>
              <a:rPr lang="en-AU" dirty="0"/>
              <a:t> </a:t>
            </a:r>
            <a:r>
              <a:rPr lang="en-AU" dirty="0" err="1"/>
              <a:t>adipiscing</a:t>
            </a:r>
            <a:r>
              <a:rPr lang="en-AU" dirty="0"/>
              <a:t> </a:t>
            </a:r>
            <a:r>
              <a:rPr lang="en-AU" dirty="0" err="1"/>
              <a:t>elit</a:t>
            </a:r>
            <a:r>
              <a:rPr lang="en-AU" dirty="0"/>
              <a:t>, sed do </a:t>
            </a:r>
            <a:r>
              <a:rPr lang="en-AU" dirty="0" err="1"/>
              <a:t>eiusmod</a:t>
            </a:r>
            <a:r>
              <a:rPr lang="en-AU" dirty="0"/>
              <a:t> </a:t>
            </a:r>
            <a:r>
              <a:rPr lang="en-AU" dirty="0" err="1"/>
              <a:t>tempor</a:t>
            </a:r>
            <a:r>
              <a:rPr lang="en-AU" dirty="0"/>
              <a:t> </a:t>
            </a:r>
            <a:r>
              <a:rPr lang="en-AU" dirty="0" err="1"/>
              <a:t>incididunt</a:t>
            </a:r>
            <a:r>
              <a:rPr lang="en-AU" dirty="0"/>
              <a:t>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labore</a:t>
            </a:r>
            <a:r>
              <a:rPr lang="en-AU" dirty="0"/>
              <a:t> et dolore magna </a:t>
            </a:r>
            <a:r>
              <a:rPr lang="en-AU" dirty="0" err="1"/>
              <a:t>aliqua</a:t>
            </a:r>
            <a:r>
              <a:rPr lang="en-AU" dirty="0"/>
              <a:t>. Ut </a:t>
            </a:r>
            <a:r>
              <a:rPr lang="en-AU" dirty="0" err="1"/>
              <a:t>enim</a:t>
            </a:r>
            <a:r>
              <a:rPr lang="en-AU" dirty="0"/>
              <a:t> ad minim </a:t>
            </a:r>
            <a:r>
              <a:rPr lang="en-AU" dirty="0" err="1"/>
              <a:t>veniam</a:t>
            </a:r>
            <a:r>
              <a:rPr lang="en-AU" dirty="0"/>
              <a:t>, </a:t>
            </a:r>
            <a:r>
              <a:rPr lang="en-AU" dirty="0" err="1"/>
              <a:t>quis</a:t>
            </a:r>
            <a:r>
              <a:rPr lang="en-AU" dirty="0"/>
              <a:t> </a:t>
            </a:r>
            <a:r>
              <a:rPr lang="en-AU" dirty="0" err="1"/>
              <a:t>nostrud</a:t>
            </a:r>
            <a:r>
              <a:rPr lang="en-AU" dirty="0"/>
              <a:t> exercitation </a:t>
            </a:r>
            <a:r>
              <a:rPr lang="en-AU" dirty="0" err="1"/>
              <a:t>ullamco</a:t>
            </a:r>
            <a:r>
              <a:rPr lang="en-AU" dirty="0"/>
              <a:t> </a:t>
            </a:r>
            <a:r>
              <a:rPr lang="en-AU" dirty="0" err="1"/>
              <a:t>laboris</a:t>
            </a:r>
            <a:r>
              <a:rPr lang="en-AU" dirty="0"/>
              <a:t> nisi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aliquip</a:t>
            </a:r>
            <a:r>
              <a:rPr lang="en-AU" dirty="0"/>
              <a:t> ex </a:t>
            </a:r>
            <a:r>
              <a:rPr lang="en-AU" dirty="0" err="1"/>
              <a:t>ea</a:t>
            </a:r>
            <a:r>
              <a:rPr lang="en-AU" dirty="0"/>
              <a:t> </a:t>
            </a:r>
            <a:r>
              <a:rPr lang="en-AU" dirty="0" err="1"/>
              <a:t>commodo</a:t>
            </a:r>
            <a:r>
              <a:rPr lang="en-AU" dirty="0"/>
              <a:t> </a:t>
            </a:r>
            <a:r>
              <a:rPr lang="en-AU" dirty="0" err="1"/>
              <a:t>consequat</a:t>
            </a:r>
            <a:r>
              <a:rPr lang="en-AU" dirty="0"/>
              <a:t>.</a:t>
            </a:r>
          </a:p>
          <a:p>
            <a:pPr lvl="0"/>
            <a:endParaRPr lang="en-AU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F1454EB-BC01-49F7-9880-E1A8EA368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33316" y="3122649"/>
            <a:ext cx="1882775" cy="1546225"/>
          </a:xfr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AU" dirty="0" err="1"/>
              <a:t>Dolor</a:t>
            </a:r>
            <a:r>
              <a:rPr lang="en-AU" dirty="0"/>
              <a:t> sit </a:t>
            </a:r>
            <a:r>
              <a:rPr lang="en-AU" dirty="0" err="1"/>
              <a:t>amet</a:t>
            </a:r>
            <a:r>
              <a:rPr lang="en-AU" dirty="0"/>
              <a:t>, </a:t>
            </a:r>
            <a:r>
              <a:rPr lang="en-AU" dirty="0" err="1"/>
              <a:t>consectetur</a:t>
            </a:r>
            <a:r>
              <a:rPr lang="en-AU" dirty="0"/>
              <a:t> </a:t>
            </a:r>
            <a:r>
              <a:rPr lang="en-AU" dirty="0" err="1"/>
              <a:t>adipiscing</a:t>
            </a:r>
            <a:r>
              <a:rPr lang="en-AU" dirty="0"/>
              <a:t> </a:t>
            </a:r>
            <a:r>
              <a:rPr lang="en-AU" dirty="0" err="1"/>
              <a:t>elit</a:t>
            </a:r>
            <a:r>
              <a:rPr lang="en-AU" dirty="0"/>
              <a:t>, sed do </a:t>
            </a:r>
            <a:r>
              <a:rPr lang="en-AU" dirty="0" err="1"/>
              <a:t>eiusmod</a:t>
            </a:r>
            <a:r>
              <a:rPr lang="en-AU" dirty="0"/>
              <a:t> </a:t>
            </a:r>
            <a:r>
              <a:rPr lang="en-AU" dirty="0" err="1"/>
              <a:t>tempor</a:t>
            </a:r>
            <a:r>
              <a:rPr lang="en-AU" dirty="0"/>
              <a:t> </a:t>
            </a:r>
            <a:r>
              <a:rPr lang="en-AU" dirty="0" err="1"/>
              <a:t>incididunt</a:t>
            </a:r>
            <a:r>
              <a:rPr lang="en-AU" dirty="0"/>
              <a:t>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labore</a:t>
            </a:r>
            <a:r>
              <a:rPr lang="en-AU" dirty="0"/>
              <a:t> et dolore magna </a:t>
            </a:r>
            <a:r>
              <a:rPr lang="en-AU" dirty="0" err="1"/>
              <a:t>aliqua</a:t>
            </a:r>
            <a:r>
              <a:rPr lang="en-AU" dirty="0"/>
              <a:t>. Ut </a:t>
            </a:r>
            <a:r>
              <a:rPr lang="en-AU" dirty="0" err="1"/>
              <a:t>enim</a:t>
            </a:r>
            <a:r>
              <a:rPr lang="en-AU" dirty="0"/>
              <a:t> ad minim </a:t>
            </a:r>
            <a:r>
              <a:rPr lang="en-AU" dirty="0" err="1"/>
              <a:t>veniam</a:t>
            </a:r>
            <a:r>
              <a:rPr lang="en-AU" dirty="0"/>
              <a:t>, </a:t>
            </a:r>
            <a:r>
              <a:rPr lang="en-AU" dirty="0" err="1"/>
              <a:t>quis</a:t>
            </a:r>
            <a:r>
              <a:rPr lang="en-AU" dirty="0"/>
              <a:t> </a:t>
            </a:r>
            <a:r>
              <a:rPr lang="en-AU" dirty="0" err="1"/>
              <a:t>nostrud</a:t>
            </a:r>
            <a:r>
              <a:rPr lang="en-AU" dirty="0"/>
              <a:t> exercitation </a:t>
            </a:r>
            <a:r>
              <a:rPr lang="en-AU" dirty="0" err="1"/>
              <a:t>ullamco</a:t>
            </a:r>
            <a:r>
              <a:rPr lang="en-AU" dirty="0"/>
              <a:t> </a:t>
            </a:r>
            <a:r>
              <a:rPr lang="en-AU" dirty="0" err="1"/>
              <a:t>laboris</a:t>
            </a:r>
            <a:r>
              <a:rPr lang="en-AU" dirty="0"/>
              <a:t> nisi </a:t>
            </a:r>
            <a:r>
              <a:rPr lang="en-AU" dirty="0" err="1"/>
              <a:t>ut</a:t>
            </a:r>
            <a:r>
              <a:rPr lang="en-AU" dirty="0"/>
              <a:t> </a:t>
            </a:r>
            <a:r>
              <a:rPr lang="en-AU" dirty="0" err="1"/>
              <a:t>aliquip</a:t>
            </a:r>
            <a:r>
              <a:rPr lang="en-AU" dirty="0"/>
              <a:t> ex </a:t>
            </a:r>
            <a:r>
              <a:rPr lang="en-AU" dirty="0" err="1"/>
              <a:t>ea</a:t>
            </a:r>
            <a:r>
              <a:rPr lang="en-AU" dirty="0"/>
              <a:t> </a:t>
            </a:r>
            <a:r>
              <a:rPr lang="en-AU" dirty="0" err="1"/>
              <a:t>commodo</a:t>
            </a:r>
            <a:r>
              <a:rPr lang="en-AU" dirty="0"/>
              <a:t> </a:t>
            </a:r>
            <a:r>
              <a:rPr lang="en-AU" dirty="0" err="1"/>
              <a:t>consequat</a:t>
            </a:r>
            <a:r>
              <a:rPr lang="en-AU" dirty="0"/>
              <a:t>.</a:t>
            </a:r>
          </a:p>
          <a:p>
            <a:pPr lvl="0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12501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736AB-07F7-4AB2-A214-A28D7E113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3D065B-F117-4B9B-9C3A-1FAD55EA55AA}"/>
              </a:ext>
            </a:extLst>
          </p:cNvPr>
          <p:cNvSpPr/>
          <p:nvPr userDrawn="1"/>
        </p:nvSpPr>
        <p:spPr>
          <a:xfrm>
            <a:off x="899592" y="1494011"/>
            <a:ext cx="3312368" cy="3384376"/>
          </a:xfrm>
          <a:prstGeom prst="roundRect">
            <a:avLst>
              <a:gd name="adj" fmla="val 6315"/>
            </a:avLst>
          </a:prstGeom>
          <a:solidFill>
            <a:schemeClr val="bg1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9A2AEFD-71D2-4D9F-9456-DAB17EB8F789}"/>
              </a:ext>
            </a:extLst>
          </p:cNvPr>
          <p:cNvSpPr/>
          <p:nvPr userDrawn="1"/>
        </p:nvSpPr>
        <p:spPr>
          <a:xfrm>
            <a:off x="1166947" y="2258501"/>
            <a:ext cx="779830" cy="7555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5EEB70-8024-4671-A7C1-E8579EC229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6948" y="2814206"/>
            <a:ext cx="2808287" cy="16573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 Nova Light" panose="020B03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5B09DEE-D14D-4D9F-B35F-3B8A13AE9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66947" y="1745456"/>
            <a:ext cx="2808287" cy="396627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200" b="1">
                <a:latin typeface="Arial Nova" panose="020B05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AC789E-533D-4A78-B416-C291B47C84A9}"/>
              </a:ext>
            </a:extLst>
          </p:cNvPr>
          <p:cNvSpPr/>
          <p:nvPr userDrawn="1"/>
        </p:nvSpPr>
        <p:spPr>
          <a:xfrm>
            <a:off x="4572000" y="1494011"/>
            <a:ext cx="3312368" cy="3384376"/>
          </a:xfrm>
          <a:prstGeom prst="roundRect">
            <a:avLst>
              <a:gd name="adj" fmla="val 5357"/>
            </a:avLst>
          </a:prstGeom>
          <a:solidFill>
            <a:schemeClr val="bg1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00A7648-271D-40A3-9A7B-ECE78E6DC360}"/>
              </a:ext>
            </a:extLst>
          </p:cNvPr>
          <p:cNvSpPr/>
          <p:nvPr userDrawn="1"/>
        </p:nvSpPr>
        <p:spPr>
          <a:xfrm>
            <a:off x="4839355" y="2258501"/>
            <a:ext cx="779830" cy="7555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F417C21-7558-4FBF-8EDD-DD57F01625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9355" y="2814206"/>
            <a:ext cx="2808287" cy="16573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 Nova Light" panose="020B03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C8E39C3-706E-4866-B91C-8D5832713A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39354" y="1745456"/>
            <a:ext cx="2808287" cy="396627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200" b="1">
                <a:latin typeface="Arial Nova" panose="020B05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6839592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736AB-07F7-4AB2-A214-A28D7E113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3D065B-F117-4B9B-9C3A-1FAD55EA55AA}"/>
              </a:ext>
            </a:extLst>
          </p:cNvPr>
          <p:cNvSpPr/>
          <p:nvPr userDrawn="1"/>
        </p:nvSpPr>
        <p:spPr>
          <a:xfrm>
            <a:off x="457200" y="1494011"/>
            <a:ext cx="2601470" cy="3384376"/>
          </a:xfrm>
          <a:prstGeom prst="roundRect">
            <a:avLst>
              <a:gd name="adj" fmla="val 6315"/>
            </a:avLst>
          </a:prstGeom>
          <a:solidFill>
            <a:schemeClr val="bg1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9A2AEFD-71D2-4D9F-9456-DAB17EB8F789}"/>
              </a:ext>
            </a:extLst>
          </p:cNvPr>
          <p:cNvSpPr/>
          <p:nvPr userDrawn="1"/>
        </p:nvSpPr>
        <p:spPr>
          <a:xfrm>
            <a:off x="724555" y="2258501"/>
            <a:ext cx="612464" cy="7555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5EEB70-8024-4671-A7C1-E8579EC229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557" y="2814206"/>
            <a:ext cx="2205574" cy="16573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 Nova Light" panose="020B03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5B09DEE-D14D-4D9F-B35F-3B8A13AE9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4556" y="1745456"/>
            <a:ext cx="2205574" cy="396627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200" b="1">
                <a:latin typeface="Arial Nova" panose="020B05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AC789E-533D-4A78-B416-C291B47C84A9}"/>
              </a:ext>
            </a:extLst>
          </p:cNvPr>
          <p:cNvSpPr/>
          <p:nvPr userDrawn="1"/>
        </p:nvSpPr>
        <p:spPr>
          <a:xfrm>
            <a:off x="3222726" y="1494011"/>
            <a:ext cx="2601470" cy="3384376"/>
          </a:xfrm>
          <a:prstGeom prst="roundRect">
            <a:avLst>
              <a:gd name="adj" fmla="val 5357"/>
            </a:avLst>
          </a:prstGeom>
          <a:solidFill>
            <a:schemeClr val="bg1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00A7648-271D-40A3-9A7B-ECE78E6DC360}"/>
              </a:ext>
            </a:extLst>
          </p:cNvPr>
          <p:cNvSpPr/>
          <p:nvPr userDrawn="1"/>
        </p:nvSpPr>
        <p:spPr>
          <a:xfrm>
            <a:off x="3490081" y="2258501"/>
            <a:ext cx="612464" cy="7555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F417C21-7558-4FBF-8EDD-DD57F01625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0082" y="2814206"/>
            <a:ext cx="2205574" cy="16573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 Nova Light" panose="020B03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C8E39C3-706E-4866-B91C-8D5832713A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90081" y="1745456"/>
            <a:ext cx="2205574" cy="396627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200" b="1">
                <a:latin typeface="Arial Nova" panose="020B05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A36B58D-0C1E-4ADD-BD61-C5BAF5DF64AB}"/>
              </a:ext>
            </a:extLst>
          </p:cNvPr>
          <p:cNvSpPr/>
          <p:nvPr userDrawn="1"/>
        </p:nvSpPr>
        <p:spPr>
          <a:xfrm>
            <a:off x="5988252" y="1494011"/>
            <a:ext cx="2601470" cy="3384376"/>
          </a:xfrm>
          <a:prstGeom prst="roundRect">
            <a:avLst>
              <a:gd name="adj" fmla="val 5357"/>
            </a:avLst>
          </a:prstGeom>
          <a:solidFill>
            <a:schemeClr val="bg1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16AD1E3-B4B2-40EC-BE63-B6488380ACE5}"/>
              </a:ext>
            </a:extLst>
          </p:cNvPr>
          <p:cNvSpPr/>
          <p:nvPr userDrawn="1"/>
        </p:nvSpPr>
        <p:spPr>
          <a:xfrm>
            <a:off x="6255607" y="2258501"/>
            <a:ext cx="612464" cy="7555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466DB25-585B-401D-BB86-6D9AF5D0F2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5608" y="2814206"/>
            <a:ext cx="2205574" cy="16573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 Nova Light" panose="020B03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2E3C8D8-96AD-42F6-B00E-5AE13D75AA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5607" y="1745456"/>
            <a:ext cx="2205574" cy="396627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200" b="1">
                <a:latin typeface="Arial Nova" panose="020B0504020202020204" pitchFamily="34" charset="0"/>
              </a:defRPr>
            </a:lvl1pPr>
            <a:lvl2pPr>
              <a:defRPr sz="1200">
                <a:latin typeface="Arial Nova Light" panose="020B0304020202020204" pitchFamily="34" charset="0"/>
              </a:defRPr>
            </a:lvl2pPr>
            <a:lvl3pPr>
              <a:defRPr sz="1100">
                <a:latin typeface="Arial Nova Light" panose="020B0304020202020204" pitchFamily="34" charset="0"/>
              </a:defRPr>
            </a:lvl3pPr>
            <a:lvl4pPr>
              <a:defRPr sz="1050">
                <a:latin typeface="Arial Nova Light" panose="020B0304020202020204" pitchFamily="34" charset="0"/>
              </a:defRPr>
            </a:lvl4pPr>
            <a:lvl5pPr>
              <a:defRPr sz="105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20131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: Pentagon 2">
            <a:extLst>
              <a:ext uri="{FF2B5EF4-FFF2-40B4-BE49-F238E27FC236}">
                <a16:creationId xmlns:a16="http://schemas.microsoft.com/office/drawing/2014/main" id="{F766AD0B-1C74-414E-B499-0322BFD6C790}"/>
              </a:ext>
            </a:extLst>
          </p:cNvPr>
          <p:cNvSpPr/>
          <p:nvPr userDrawn="1"/>
        </p:nvSpPr>
        <p:spPr>
          <a:xfrm>
            <a:off x="0" y="0"/>
            <a:ext cx="2771800" cy="5148263"/>
          </a:xfrm>
          <a:prstGeom prst="homePlate">
            <a:avLst>
              <a:gd name="adj" fmla="val 32583"/>
            </a:avLst>
          </a:prstGeom>
          <a:solidFill>
            <a:srgbClr val="002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9581A-92F7-4CFC-9CC8-B5C7E2010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854051"/>
            <a:ext cx="1872208" cy="12241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88118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5443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76491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215527"/>
              </p:ext>
            </p:extLst>
          </p:nvPr>
        </p:nvGraphicFramePr>
        <p:xfrm>
          <a:off x="1193" y="1192"/>
          <a:ext cx="1191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D3F"/>
          </a:solidFill>
          <a:ln w="9525" cap="rnd" cmpd="sng" algn="ctr">
            <a:solidFill>
              <a:srgbClr val="002D3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5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826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00">
                <a:srgbClr val="002D3F"/>
              </a:gs>
              <a:gs pos="0">
                <a:srgbClr val="00425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0" y="2075072"/>
            <a:ext cx="1874281" cy="986646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8225"/>
            <a:ext cx="1111538" cy="11552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JS SlideHeader" hidden="1"/>
          <p:cNvSpPr txBox="1"/>
          <p:nvPr userDrawn="1"/>
        </p:nvSpPr>
        <p:spPr>
          <a:xfrm rot="16200000">
            <a:off x="7113395" y="2814789"/>
            <a:ext cx="3854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r>
              <a:rPr lang="en-US" sz="1200" b="1" i="0" u="none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554487"/>
            <a:ext cx="2021000" cy="259871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094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F09C09-4524-4964-9716-3D4468906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5316D-7AD3-4A50-B1F0-07F95FCB73D1}" type="datetimeFigureOut">
              <a:rPr lang="en-AU" smtClean="0"/>
              <a:t>20/10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869665-6F47-4DCA-8DB4-B6D9A07A7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A998C-1AB4-4F08-846C-62C5E5CA3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6C352-3E24-4B7D-B5A7-E55FAB9F11C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03273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2841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7EB26-4609-450C-A3ED-9C43D181FF72}" type="datetimeFigureOut">
              <a:rPr lang="en-AU" smtClean="0"/>
              <a:t>20/10/2021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E37600-5421-4962-8028-248251317E2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83928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47288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F09C09-4524-4964-9716-3D4468906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5316D-7AD3-4A50-B1F0-07F95FCB73D1}" type="datetimeFigureOut">
              <a:rPr lang="en-AU" smtClean="0"/>
              <a:t>20/10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869665-6F47-4DCA-8DB4-B6D9A07A7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A998C-1AB4-4F08-846C-62C5E5CA3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6C352-3E24-4B7D-B5A7-E55FAB9F11C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0895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7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AU" b="1">
                <a:solidFill>
                  <a:schemeClr val="bg2"/>
                </a:solidFill>
              </a:rPr>
              <a:t>Subtitle style  </a:t>
            </a:r>
            <a:r>
              <a:rPr lang="en-AU" b="1">
                <a:solidFill>
                  <a:srgbClr val="E9A913"/>
                </a:solidFill>
              </a:rPr>
              <a:t>|</a:t>
            </a:r>
            <a:r>
              <a:rPr lang="en-AU" b="1">
                <a:solidFill>
                  <a:schemeClr val="bg2"/>
                </a:solidFill>
              </a:rPr>
              <a:t>  et </a:t>
            </a:r>
            <a:r>
              <a:rPr lang="en-AU" b="1" err="1">
                <a:solidFill>
                  <a:schemeClr val="bg2"/>
                </a:solidFill>
              </a:rPr>
              <a:t>milliaea</a:t>
            </a:r>
            <a:r>
              <a:rPr lang="en-AU" b="1">
                <a:solidFill>
                  <a:schemeClr val="bg2"/>
                </a:solidFill>
              </a:rPr>
              <a:t> </a:t>
            </a:r>
            <a:r>
              <a:rPr lang="en-AU" b="1" err="1">
                <a:solidFill>
                  <a:schemeClr val="bg2"/>
                </a:solidFill>
              </a:rPr>
              <a:t>doluptatur</a:t>
            </a:r>
            <a:r>
              <a:rPr lang="en-AU" b="1">
                <a:solidFill>
                  <a:schemeClr val="bg2"/>
                </a:solidFill>
              </a:rPr>
              <a:t>  </a:t>
            </a:r>
            <a:r>
              <a:rPr lang="en-AU" b="1">
                <a:solidFill>
                  <a:srgbClr val="E9A913"/>
                </a:solidFill>
              </a:rPr>
              <a:t>|</a:t>
            </a:r>
            <a:r>
              <a:rPr lang="en-AU" b="1">
                <a:solidFill>
                  <a:schemeClr val="bg2"/>
                </a:solidFill>
              </a:rPr>
              <a:t>  as </a:t>
            </a:r>
            <a:r>
              <a:rPr lang="en-AU" b="1" err="1">
                <a:solidFill>
                  <a:schemeClr val="bg2"/>
                </a:solidFill>
              </a:rPr>
              <a:t>molupti</a:t>
            </a:r>
            <a:r>
              <a:rPr lang="en-AU" b="1">
                <a:solidFill>
                  <a:schemeClr val="bg2"/>
                </a:solidFill>
              </a:rPr>
              <a:t> </a:t>
            </a:r>
            <a:r>
              <a:rPr lang="en-AU" b="1" err="1">
                <a:solidFill>
                  <a:schemeClr val="bg2"/>
                </a:solidFill>
              </a:rPr>
              <a:t>oribus</a:t>
            </a:r>
            <a:endParaRPr lang="en-AU" b="1">
              <a:solidFill>
                <a:schemeClr val="bg2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72025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33BC88-7E36-4428-94BF-D011E0F038CB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72025"/>
            <a:ext cx="30861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72025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4BDF8A-F3AC-4977-BAC0-38A644132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24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5" r:id="rId3"/>
    <p:sldLayoutId id="2147483722" r:id="rId4"/>
    <p:sldLayoutId id="214748372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905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rgbClr val="002D3F"/>
          </a:solidFill>
          <a:latin typeface="+mn-lt"/>
          <a:ea typeface="+mj-ea"/>
          <a:cs typeface="+mj-cs"/>
        </a:defRPr>
      </a:lvl1pPr>
    </p:titleStyle>
    <p:bodyStyle>
      <a:lvl1pPr marL="230400" indent="-2304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4355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1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rgbClr val="002D3F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8909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474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46802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23157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60941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3F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22.png"/><Relationship Id="rId7" Type="http://schemas.openxmlformats.org/officeDocument/2006/relationships/image" Target="../media/image58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sv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6.png"/><Relationship Id="rId11" Type="http://schemas.openxmlformats.org/officeDocument/2006/relationships/image" Target="../media/image71.svg"/><Relationship Id="rId5" Type="http://schemas.openxmlformats.org/officeDocument/2006/relationships/image" Target="../media/image65.sv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jpg"/><Relationship Id="rId7" Type="http://schemas.openxmlformats.org/officeDocument/2006/relationships/image" Target="../media/image76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5.png"/><Relationship Id="rId5" Type="http://schemas.openxmlformats.org/officeDocument/2006/relationships/image" Target="../media/image74.svg"/><Relationship Id="rId4" Type="http://schemas.openxmlformats.org/officeDocument/2006/relationships/image" Target="../media/image73.png"/><Relationship Id="rId9" Type="http://schemas.openxmlformats.org/officeDocument/2006/relationships/image" Target="../media/image7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ygovid.gov.au/need-help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8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2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3.jp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SecurityComplianceSupport@dese.gov.au" TargetMode="External"/><Relationship Id="rId5" Type="http://schemas.openxmlformats.org/officeDocument/2006/relationships/image" Target="../media/image85.svg"/><Relationship Id="rId4" Type="http://schemas.openxmlformats.org/officeDocument/2006/relationships/image" Target="../media/image8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9.svg"/><Relationship Id="rId4" Type="http://schemas.openxmlformats.org/officeDocument/2006/relationships/image" Target="../media/image8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jpe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40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jpeg"/><Relationship Id="rId11" Type="http://schemas.openxmlformats.org/officeDocument/2006/relationships/comments" Target="../comments/comment1.xml"/><Relationship Id="rId5" Type="http://schemas.openxmlformats.org/officeDocument/2006/relationships/image" Target="../media/image35.jpeg"/><Relationship Id="rId10" Type="http://schemas.openxmlformats.org/officeDocument/2006/relationships/image" Target="../media/image44.png"/><Relationship Id="rId4" Type="http://schemas.openxmlformats.org/officeDocument/2006/relationships/image" Target="../media/image41.png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9A156-AFEB-4D31-B2A5-AD45B0A01C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myGovID for Employment Service Provi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F681E3-ED9B-4324-9D73-7185D8752B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4000" y="2557462"/>
            <a:ext cx="6858000" cy="432179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en-AU" sz="1600" b="0" dirty="0">
                <a:latin typeface="Calibri" panose="020F0502020204030204" pitchFamily="34" charset="0"/>
                <a:cs typeface="Calibri" panose="020F0502020204030204" pitchFamily="34" charset="0"/>
              </a:rPr>
              <a:t>John Dardo – Senior Responsible Officer NESM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A506AD-EA00-4FAF-8DC1-0D839172517C}"/>
              </a:ext>
            </a:extLst>
          </p:cNvPr>
          <p:cNvSpPr txBox="1">
            <a:spLocks/>
          </p:cNvSpPr>
          <p:nvPr/>
        </p:nvSpPr>
        <p:spPr>
          <a:xfrm>
            <a:off x="864000" y="3369309"/>
            <a:ext cx="6858000" cy="287966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Clr>
                <a:srgbClr val="002D3F"/>
              </a:buClr>
              <a:buFont typeface="Arial" panose="020B0604020202020204" pitchFamily="34" charset="0"/>
              <a:buChar char="​"/>
              <a:defRPr kumimoji="0" lang="en-AU" sz="1800" b="1" i="0" u="none" strike="noStrike" kern="1200" cap="none" spc="0" normalizeH="0" baseline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rgbClr val="002D3F"/>
              </a:buClr>
              <a:buFont typeface="Arial" panose="020B0604020202020204" pitchFamily="34" charset="0"/>
              <a:buChar char="•"/>
              <a:defRPr lang="en-US" sz="9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rgbClr val="002D3F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rgbClr val="002D3F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2D3F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2D3F"/>
              </a:buClr>
              <a:buFont typeface="Arial" panose="020B0604020202020204" pitchFamily="34" charset="0"/>
              <a:buChar char="​"/>
              <a:defRPr lang="en-US" sz="12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002D3F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Clr>
                <a:srgbClr val="002D3F"/>
              </a:buClr>
              <a:buFont typeface="Arial" panose="020B0604020202020204" pitchFamily="34" charset="0"/>
              <a:buChar char="​"/>
              <a:defRPr lang="en-US" sz="33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>
                <a:srgbClr val="002D3F"/>
              </a:buClr>
              <a:buFont typeface="Arial" panose="020B0604020202020204" pitchFamily="34" charset="0"/>
              <a:buChar char="​"/>
              <a:defRPr lang="en-US" sz="4050" kern="1200" baseline="0" smtClean="0">
                <a:solidFill>
                  <a:srgbClr val="002D3F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002D3F"/>
              </a:buClr>
              <a:buFont typeface="Arial" panose="020B0604020202020204" pitchFamily="34" charset="0"/>
              <a:buChar char="​"/>
              <a:defRPr lang="en-US" sz="1800" kern="1200" baseline="0" dirty="0">
                <a:solidFill>
                  <a:srgbClr val="002D3F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AU" sz="1400" b="0" i="1" dirty="0"/>
              <a:t> </a:t>
            </a:r>
            <a:r>
              <a:rPr lang="en-AU" sz="1600" b="0" i="1" dirty="0"/>
              <a:t>20 October 2021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9976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60">
            <a:extLst>
              <a:ext uri="{FF2B5EF4-FFF2-40B4-BE49-F238E27FC236}">
                <a16:creationId xmlns:a16="http://schemas.microsoft.com/office/drawing/2014/main" id="{F1B3291B-AA7E-451B-88F2-FD5096162833}"/>
              </a:ext>
            </a:extLst>
          </p:cNvPr>
          <p:cNvGrpSpPr/>
          <p:nvPr/>
        </p:nvGrpSpPr>
        <p:grpSpPr>
          <a:xfrm>
            <a:off x="3362625" y="2736798"/>
            <a:ext cx="2067584" cy="1598328"/>
            <a:chOff x="3239454" y="2966171"/>
            <a:chExt cx="2067584" cy="1598328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C18C326-2E51-44B2-8ECE-98788998E1C6}"/>
                </a:ext>
              </a:extLst>
            </p:cNvPr>
            <p:cNvGrpSpPr/>
            <p:nvPr/>
          </p:nvGrpSpPr>
          <p:grpSpPr>
            <a:xfrm>
              <a:off x="3239454" y="2966171"/>
              <a:ext cx="2067584" cy="1598328"/>
              <a:chOff x="4879967" y="815970"/>
              <a:chExt cx="1699051" cy="1313437"/>
            </a:xfrm>
          </p:grpSpPr>
          <p:pic>
            <p:nvPicPr>
              <p:cNvPr id="64" name="Picture 63" descr="A picture containing monitor, indoor, screen, flat&#10;&#10;Description automatically generated">
                <a:extLst>
                  <a:ext uri="{FF2B5EF4-FFF2-40B4-BE49-F238E27FC236}">
                    <a16:creationId xmlns:a16="http://schemas.microsoft.com/office/drawing/2014/main" id="{820ED544-FBA9-46D6-AC6D-9A89A0E93F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994" t="9128" r="15382" b="9466"/>
              <a:stretch/>
            </p:blipFill>
            <p:spPr>
              <a:xfrm>
                <a:off x="4879967" y="815970"/>
                <a:ext cx="1699051" cy="1313437"/>
              </a:xfrm>
              <a:prstGeom prst="rect">
                <a:avLst/>
              </a:prstGeom>
            </p:spPr>
          </p:pic>
          <p:sp>
            <p:nvSpPr>
              <p:cNvPr id="65" name="Rectangle: Rounded Corners 64">
                <a:extLst>
                  <a:ext uri="{FF2B5EF4-FFF2-40B4-BE49-F238E27FC236}">
                    <a16:creationId xmlns:a16="http://schemas.microsoft.com/office/drawing/2014/main" id="{5539B96A-1724-4807-8358-1F975C775635}"/>
                  </a:ext>
                </a:extLst>
              </p:cNvPr>
              <p:cNvSpPr/>
              <p:nvPr/>
            </p:nvSpPr>
            <p:spPr>
              <a:xfrm>
                <a:off x="5001880" y="891678"/>
                <a:ext cx="1499172" cy="1134842"/>
              </a:xfrm>
              <a:prstGeom prst="roundRect">
                <a:avLst>
                  <a:gd name="adj" fmla="val 197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dirty="0"/>
              </a:p>
            </p:txBody>
          </p:sp>
        </p:grpSp>
        <p:pic>
          <p:nvPicPr>
            <p:cNvPr id="69" name="Picture 11">
              <a:extLst>
                <a:ext uri="{FF2B5EF4-FFF2-40B4-BE49-F238E27FC236}">
                  <a16:creationId xmlns:a16="http://schemas.microsoft.com/office/drawing/2014/main" id="{D9C1C5FC-62C4-4BD2-9210-5CA4F6CADF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6930" y="3317665"/>
              <a:ext cx="1802386" cy="848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8" name="Title 1">
            <a:extLst>
              <a:ext uri="{FF2B5EF4-FFF2-40B4-BE49-F238E27FC236}">
                <a16:creationId xmlns:a16="http://schemas.microsoft.com/office/drawing/2014/main" id="{C719F3EC-4D9A-4F15-B71E-61CD2141F1AF}"/>
              </a:ext>
            </a:extLst>
          </p:cNvPr>
          <p:cNvSpPr txBox="1">
            <a:spLocks/>
          </p:cNvSpPr>
          <p:nvPr/>
        </p:nvSpPr>
        <p:spPr>
          <a:xfrm>
            <a:off x="426170" y="600322"/>
            <a:ext cx="2575769" cy="40046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rgbClr val="002D3F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endParaRPr lang="en-AU" sz="1600" dirty="0">
              <a:latin typeface="Arial Nova" panose="020B05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77F93B1-93D0-4CE7-A14C-6BFFA87A134B}"/>
              </a:ext>
            </a:extLst>
          </p:cNvPr>
          <p:cNvSpPr/>
          <p:nvPr/>
        </p:nvSpPr>
        <p:spPr>
          <a:xfrm>
            <a:off x="3302289" y="4416314"/>
            <a:ext cx="2258010" cy="586026"/>
          </a:xfrm>
          <a:prstGeom prst="roundRect">
            <a:avLst>
              <a:gd name="adj" fmla="val 11193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113000"/>
              </a:lnSpc>
            </a:pPr>
            <a:r>
              <a:rPr lang="en-AU" sz="900" b="1" dirty="0">
                <a:solidFill>
                  <a:schemeClr val="tx1"/>
                </a:solidFill>
                <a:latin typeface="Arial Nova" panose="020B0504020202020204" pitchFamily="34" charset="0"/>
              </a:rPr>
              <a:t>Step 5</a:t>
            </a:r>
            <a:r>
              <a:rPr lang="en-AU" sz="900" dirty="0">
                <a:solidFill>
                  <a:schemeClr val="tx1"/>
                </a:solidFill>
                <a:latin typeface="Arial Nova" panose="020B0504020202020204" pitchFamily="34" charset="0"/>
              </a:rPr>
              <a:t>: If user has access to more than one business in RAM, the ABN selection screen is display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CEEF2C-63BC-41C8-B5DA-058651A93239}"/>
              </a:ext>
            </a:extLst>
          </p:cNvPr>
          <p:cNvGrpSpPr/>
          <p:nvPr/>
        </p:nvGrpSpPr>
        <p:grpSpPr>
          <a:xfrm>
            <a:off x="6737448" y="3479614"/>
            <a:ext cx="756387" cy="1520303"/>
            <a:chOff x="5148598" y="1880030"/>
            <a:chExt cx="682669" cy="1372133"/>
          </a:xfrm>
        </p:grpSpPr>
        <p:pic>
          <p:nvPicPr>
            <p:cNvPr id="25" name="Picture 24" descr="A picture containing text, electronics&#10;&#10;Description automatically generated">
              <a:extLst>
                <a:ext uri="{FF2B5EF4-FFF2-40B4-BE49-F238E27FC236}">
                  <a16:creationId xmlns:a16="http://schemas.microsoft.com/office/drawing/2014/main" id="{EE15DB82-8E3D-478E-A589-C1678B246D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2645" t="6878" r="14266" b="5112"/>
            <a:stretch/>
          </p:blipFill>
          <p:spPr>
            <a:xfrm>
              <a:off x="5148598" y="1880030"/>
              <a:ext cx="682669" cy="1372133"/>
            </a:xfrm>
            <a:prstGeom prst="roundRect">
              <a:avLst>
                <a:gd name="adj" fmla="val 13047"/>
              </a:avLst>
            </a:prstGeom>
          </p:spPr>
        </p:pic>
        <p:pic>
          <p:nvPicPr>
            <p:cNvPr id="26" name="Picture 4" descr="myGovID – Apps on Google Play">
              <a:extLst>
                <a:ext uri="{FF2B5EF4-FFF2-40B4-BE49-F238E27FC236}">
                  <a16:creationId xmlns:a16="http://schemas.microsoft.com/office/drawing/2014/main" id="{3B55F056-D531-498D-A909-DC9DE8A249D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9" t="38995" r="16886"/>
            <a:stretch/>
          </p:blipFill>
          <p:spPr bwMode="auto">
            <a:xfrm>
              <a:off x="5204087" y="2196288"/>
              <a:ext cx="591213" cy="962977"/>
            </a:xfrm>
            <a:prstGeom prst="rect">
              <a:avLst/>
            </a:prstGeom>
            <a:noFill/>
            <a:effectLst>
              <a:softEdge rad="127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492ADD9-B4C4-45DD-95D1-800DF1D41900}"/>
              </a:ext>
            </a:extLst>
          </p:cNvPr>
          <p:cNvSpPr/>
          <p:nvPr/>
        </p:nvSpPr>
        <p:spPr>
          <a:xfrm>
            <a:off x="7583656" y="3597850"/>
            <a:ext cx="1014767" cy="126584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113000"/>
              </a:lnSpc>
            </a:pPr>
            <a:r>
              <a:rPr lang="en-AU" sz="900" b="1" dirty="0">
                <a:solidFill>
                  <a:schemeClr val="tx1"/>
                </a:solidFill>
                <a:latin typeface="Arial Nova" panose="020B0504020202020204" pitchFamily="34" charset="0"/>
              </a:rPr>
              <a:t>Step 4: </a:t>
            </a:r>
            <a:r>
              <a:rPr lang="en-AU" sz="900" dirty="0">
                <a:solidFill>
                  <a:schemeClr val="tx1"/>
                </a:solidFill>
                <a:latin typeface="Arial Nova" panose="020B0504020202020204" pitchFamily="34" charset="0"/>
              </a:rPr>
              <a:t>User logs into myGovID app on their smart device and enters login request code 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8BCF7693-485E-4409-9A03-20B2256BAEA6}"/>
              </a:ext>
            </a:extLst>
          </p:cNvPr>
          <p:cNvGrpSpPr/>
          <p:nvPr/>
        </p:nvGrpSpPr>
        <p:grpSpPr>
          <a:xfrm>
            <a:off x="533400" y="3265363"/>
            <a:ext cx="2182738" cy="1598328"/>
            <a:chOff x="533400" y="2949613"/>
            <a:chExt cx="2182738" cy="1598328"/>
          </a:xfrm>
        </p:grpSpPr>
        <p:pic>
          <p:nvPicPr>
            <p:cNvPr id="71" name="Picture 70" descr="A picture containing monitor, indoor, screen, flat&#10;&#10;Description automatically generated">
              <a:extLst>
                <a:ext uri="{FF2B5EF4-FFF2-40B4-BE49-F238E27FC236}">
                  <a16:creationId xmlns:a16="http://schemas.microsoft.com/office/drawing/2014/main" id="{E91EA3B8-8078-4D2B-9058-3D53C05C75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4" t="9128" r="15382" b="9466"/>
            <a:stretch/>
          </p:blipFill>
          <p:spPr>
            <a:xfrm>
              <a:off x="533400" y="2949613"/>
              <a:ext cx="2182738" cy="159832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517C76A-A2D8-4DF9-A9E2-392F89F974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19606"/>
            <a:stretch/>
          </p:blipFill>
          <p:spPr>
            <a:xfrm>
              <a:off x="707244" y="3062519"/>
              <a:ext cx="1887250" cy="1353795"/>
            </a:xfrm>
            <a:prstGeom prst="roundRect">
              <a:avLst>
                <a:gd name="adj" fmla="val 1892"/>
              </a:avLst>
            </a:prstGeom>
          </p:spPr>
        </p:pic>
      </p:grp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73DA0AC-76C4-4CB2-A3AC-6AFB07E7E810}"/>
              </a:ext>
            </a:extLst>
          </p:cNvPr>
          <p:cNvSpPr/>
          <p:nvPr/>
        </p:nvSpPr>
        <p:spPr>
          <a:xfrm>
            <a:off x="588848" y="4533811"/>
            <a:ext cx="2083668" cy="4340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113000"/>
              </a:lnSpc>
            </a:pPr>
            <a:r>
              <a:rPr lang="en-AU" sz="900" b="1" dirty="0">
                <a:solidFill>
                  <a:schemeClr val="tx1"/>
                </a:solidFill>
                <a:latin typeface="Arial Nova" panose="020B0504020202020204" pitchFamily="34" charset="0"/>
              </a:rPr>
              <a:t>Step 6: </a:t>
            </a:r>
            <a:r>
              <a:rPr lang="en-AU" sz="900" dirty="0">
                <a:solidFill>
                  <a:schemeClr val="tx1"/>
                </a:solidFill>
                <a:latin typeface="Arial Nova" panose="020B0504020202020204" pitchFamily="34" charset="0"/>
              </a:rPr>
              <a:t>The user is logged into ESS Web for the selected business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1EDE8910-F042-44E0-AD29-8F231A0AF6AE}"/>
              </a:ext>
            </a:extLst>
          </p:cNvPr>
          <p:cNvSpPr txBox="1">
            <a:spLocks/>
          </p:cNvSpPr>
          <p:nvPr/>
        </p:nvSpPr>
        <p:spPr>
          <a:xfrm>
            <a:off x="185068" y="173641"/>
            <a:ext cx="2982931" cy="64633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sz="2000" b="1" dirty="0">
                <a:solidFill>
                  <a:srgbClr val="002D3F"/>
                </a:solidFill>
                <a:latin typeface="Arial Nova" panose="020B0504020202020204" pitchFamily="34" charset="0"/>
              </a:rPr>
              <a:t>High-level user journey</a:t>
            </a:r>
          </a:p>
          <a:p>
            <a:r>
              <a:rPr lang="en-AU" sz="1600" dirty="0">
                <a:solidFill>
                  <a:srgbClr val="002D3F"/>
                </a:solidFill>
                <a:latin typeface="Arial Nova" panose="020B0504020202020204" pitchFamily="34" charset="0"/>
              </a:rPr>
              <a:t>User logs in to ESS Web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C0DE1C5-0841-45F4-92AB-E32465026B6F}"/>
              </a:ext>
            </a:extLst>
          </p:cNvPr>
          <p:cNvGrpSpPr/>
          <p:nvPr/>
        </p:nvGrpSpPr>
        <p:grpSpPr>
          <a:xfrm>
            <a:off x="439723" y="1133406"/>
            <a:ext cx="2242843" cy="1572946"/>
            <a:chOff x="1266151" y="814110"/>
            <a:chExt cx="1843393" cy="1292579"/>
          </a:xfrm>
        </p:grpSpPr>
        <p:pic>
          <p:nvPicPr>
            <p:cNvPr id="11" name="Picture 10" descr="A picture containing monitor, indoor, screen, flat&#10;&#10;Description automatically generated">
              <a:extLst>
                <a:ext uri="{FF2B5EF4-FFF2-40B4-BE49-F238E27FC236}">
                  <a16:creationId xmlns:a16="http://schemas.microsoft.com/office/drawing/2014/main" id="{0FDA7C5A-2664-46B0-B01A-640254A4C0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4" t="9128" r="15382" b="9466"/>
            <a:stretch/>
          </p:blipFill>
          <p:spPr>
            <a:xfrm>
              <a:off x="1266151" y="814110"/>
              <a:ext cx="1843393" cy="1292579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F430B4E-849F-4945-907D-879943113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409442" y="955816"/>
              <a:ext cx="1606783" cy="926348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E0A32F4-5581-47F9-A075-1E720A92EDDB}"/>
              </a:ext>
            </a:extLst>
          </p:cNvPr>
          <p:cNvGrpSpPr/>
          <p:nvPr/>
        </p:nvGrpSpPr>
        <p:grpSpPr>
          <a:xfrm>
            <a:off x="3337227" y="772231"/>
            <a:ext cx="2067584" cy="1598328"/>
            <a:chOff x="3580179" y="908269"/>
            <a:chExt cx="1699051" cy="1313437"/>
          </a:xfrm>
        </p:grpSpPr>
        <p:pic>
          <p:nvPicPr>
            <p:cNvPr id="43" name="Picture 42" descr="A picture containing monitor, indoor, screen, flat&#10;&#10;Description automatically generated">
              <a:extLst>
                <a:ext uri="{FF2B5EF4-FFF2-40B4-BE49-F238E27FC236}">
                  <a16:creationId xmlns:a16="http://schemas.microsoft.com/office/drawing/2014/main" id="{CBA52133-20A7-4F7A-B6E8-013CABD7C2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4" t="9128" r="15382" b="9466"/>
            <a:stretch/>
          </p:blipFill>
          <p:spPr>
            <a:xfrm>
              <a:off x="3580179" y="908269"/>
              <a:ext cx="1699051" cy="1313437"/>
            </a:xfrm>
            <a:prstGeom prst="rect">
              <a:avLst/>
            </a:prstGeom>
          </p:spPr>
        </p:pic>
        <p:pic>
          <p:nvPicPr>
            <p:cNvPr id="44" name="Picture 43" descr="Graphical user interface, website&#10;&#10;Description automatically generated">
              <a:extLst>
                <a:ext uri="{FF2B5EF4-FFF2-40B4-BE49-F238E27FC236}">
                  <a16:creationId xmlns:a16="http://schemas.microsoft.com/office/drawing/2014/main" id="{2B6D35C8-BC7F-4157-9A91-D2809B3FC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702269" y="983456"/>
              <a:ext cx="1496615" cy="1134842"/>
            </a:xfrm>
            <a:prstGeom prst="roundRect">
              <a:avLst>
                <a:gd name="adj" fmla="val 1955"/>
              </a:avLst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77D6572-4382-4CF8-BB96-63C8412F4479}"/>
              </a:ext>
            </a:extLst>
          </p:cNvPr>
          <p:cNvGrpSpPr/>
          <p:nvPr/>
        </p:nvGrpSpPr>
        <p:grpSpPr>
          <a:xfrm>
            <a:off x="5983496" y="1155930"/>
            <a:ext cx="2067584" cy="1598328"/>
            <a:chOff x="4879967" y="815970"/>
            <a:chExt cx="1699051" cy="1313437"/>
          </a:xfrm>
        </p:grpSpPr>
        <p:pic>
          <p:nvPicPr>
            <p:cNvPr id="46" name="Picture 45" descr="A picture containing monitor, indoor, screen, flat&#10;&#10;Description automatically generated">
              <a:extLst>
                <a:ext uri="{FF2B5EF4-FFF2-40B4-BE49-F238E27FC236}">
                  <a16:creationId xmlns:a16="http://schemas.microsoft.com/office/drawing/2014/main" id="{60BC8589-D8A4-4270-BC6D-E60586017C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4" t="9128" r="15382" b="9466"/>
            <a:stretch/>
          </p:blipFill>
          <p:spPr>
            <a:xfrm>
              <a:off x="4879967" y="815970"/>
              <a:ext cx="1699051" cy="1313437"/>
            </a:xfrm>
            <a:prstGeom prst="rect">
              <a:avLst/>
            </a:prstGeom>
          </p:spPr>
        </p:pic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042AB8AF-942F-4238-8CCD-AE5F72D8D476}"/>
                </a:ext>
              </a:extLst>
            </p:cNvPr>
            <p:cNvSpPr/>
            <p:nvPr/>
          </p:nvSpPr>
          <p:spPr>
            <a:xfrm>
              <a:off x="5001880" y="891678"/>
              <a:ext cx="1499172" cy="1134842"/>
            </a:xfrm>
            <a:prstGeom prst="roundRect">
              <a:avLst>
                <a:gd name="adj" fmla="val 1979"/>
              </a:avLst>
            </a:prstGeom>
            <a:solidFill>
              <a:srgbClr val="0F3C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BA31EA42-284E-4DE2-8D5C-4C59A5F9C6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20377" t="2968" r="13218" b="22392"/>
            <a:stretch/>
          </p:blipFill>
          <p:spPr>
            <a:xfrm>
              <a:off x="5001880" y="933615"/>
              <a:ext cx="1499173" cy="963722"/>
            </a:xfrm>
            <a:prstGeom prst="rect">
              <a:avLst/>
            </a:prstGeom>
          </p:spPr>
        </p:pic>
      </p:grp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76C0B12-FF7E-4F90-AFC4-3CF4A2687A03}"/>
              </a:ext>
            </a:extLst>
          </p:cNvPr>
          <p:cNvSpPr/>
          <p:nvPr/>
        </p:nvSpPr>
        <p:spPr>
          <a:xfrm>
            <a:off x="1407531" y="1833456"/>
            <a:ext cx="1668952" cy="4340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113000"/>
              </a:lnSpc>
            </a:pPr>
            <a:r>
              <a:rPr lang="en-AU" sz="900" b="1" dirty="0">
                <a:solidFill>
                  <a:schemeClr val="tx1"/>
                </a:solidFill>
                <a:latin typeface="Arial Nova" panose="020B0504020202020204" pitchFamily="34" charset="0"/>
              </a:rPr>
              <a:t>Step 1: </a:t>
            </a:r>
            <a:r>
              <a:rPr lang="en-AU" sz="900" dirty="0">
                <a:solidFill>
                  <a:schemeClr val="tx1"/>
                </a:solidFill>
                <a:latin typeface="Arial Nova" panose="020B0504020202020204" pitchFamily="34" charset="0"/>
              </a:rPr>
              <a:t>User logs into ESS Web using </a:t>
            </a:r>
            <a:r>
              <a:rPr lang="en-AU" sz="900" dirty="0" err="1">
                <a:solidFill>
                  <a:schemeClr val="tx1"/>
                </a:solidFill>
                <a:latin typeface="Arial Nova" panose="020B0504020202020204" pitchFamily="34" charset="0"/>
              </a:rPr>
              <a:t>myGovID</a:t>
            </a:r>
            <a:endParaRPr lang="en-AU" sz="900" dirty="0">
              <a:solidFill>
                <a:schemeClr val="tx1"/>
              </a:solidFill>
              <a:latin typeface="Arial Nova" panose="020B0504020202020204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70E064E-5A2B-4ABD-989C-FDC54BEA7A56}"/>
              </a:ext>
            </a:extLst>
          </p:cNvPr>
          <p:cNvSpPr/>
          <p:nvPr/>
        </p:nvSpPr>
        <p:spPr>
          <a:xfrm>
            <a:off x="3657208" y="272662"/>
            <a:ext cx="1478419" cy="4340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113000"/>
              </a:lnSpc>
            </a:pPr>
            <a:r>
              <a:rPr lang="en-AU" sz="900" b="1" dirty="0">
                <a:solidFill>
                  <a:schemeClr val="tx1"/>
                </a:solidFill>
                <a:latin typeface="Arial Nova" panose="020B0504020202020204" pitchFamily="34" charset="0"/>
              </a:rPr>
              <a:t>Step 2: </a:t>
            </a:r>
            <a:r>
              <a:rPr lang="en-AU" sz="900" dirty="0">
                <a:solidFill>
                  <a:schemeClr val="tx1"/>
                </a:solidFill>
                <a:latin typeface="Arial Nova" panose="020B0504020202020204" pitchFamily="34" charset="0"/>
              </a:rPr>
              <a:t>User enters their myGovID email addres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9D176F5-E8D9-4E71-81DA-DB7CD6D60C56}"/>
              </a:ext>
            </a:extLst>
          </p:cNvPr>
          <p:cNvSpPr/>
          <p:nvPr/>
        </p:nvSpPr>
        <p:spPr>
          <a:xfrm>
            <a:off x="6332018" y="657755"/>
            <a:ext cx="1370541" cy="4340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113000"/>
              </a:lnSpc>
            </a:pPr>
            <a:r>
              <a:rPr lang="en-AU" sz="900" b="1" dirty="0">
                <a:solidFill>
                  <a:schemeClr val="tx1"/>
                </a:solidFill>
                <a:latin typeface="Arial Nova" panose="020B0504020202020204" pitchFamily="34" charset="0"/>
              </a:rPr>
              <a:t>Step 3: </a:t>
            </a:r>
            <a:r>
              <a:rPr lang="en-AU" sz="900" dirty="0">
                <a:solidFill>
                  <a:schemeClr val="tx1"/>
                </a:solidFill>
                <a:latin typeface="Arial Nova" panose="020B0504020202020204" pitchFamily="34" charset="0"/>
              </a:rPr>
              <a:t>Login request code displayed</a:t>
            </a: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C79645B9-3A1F-47C7-BB8A-581E295264CE}"/>
              </a:ext>
            </a:extLst>
          </p:cNvPr>
          <p:cNvSpPr/>
          <p:nvPr/>
        </p:nvSpPr>
        <p:spPr>
          <a:xfrm rot="17574183">
            <a:off x="2703170" y="1195445"/>
            <a:ext cx="914400" cy="914400"/>
          </a:xfrm>
          <a:custGeom>
            <a:avLst/>
            <a:gdLst>
              <a:gd name="connsiteX0" fmla="*/ 575604 w 914400"/>
              <a:gd name="connsiteY0" fmla="*/ 15598 h 914400"/>
              <a:gd name="connsiteX1" fmla="*/ 891945 w 914400"/>
              <a:gd name="connsiteY1" fmla="*/ 315677 h 914400"/>
              <a:gd name="connsiteX2" fmla="*/ 457200 w 914400"/>
              <a:gd name="connsiteY2" fmla="*/ 457200 h 914400"/>
              <a:gd name="connsiteX3" fmla="*/ 575604 w 914400"/>
              <a:gd name="connsiteY3" fmla="*/ 15598 h 914400"/>
              <a:gd name="connsiteX0" fmla="*/ 575604 w 914400"/>
              <a:gd name="connsiteY0" fmla="*/ 15598 h 914400"/>
              <a:gd name="connsiteX1" fmla="*/ 891945 w 914400"/>
              <a:gd name="connsiteY1" fmla="*/ 315677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4400" h="914400" stroke="0" extrusionOk="0">
                <a:moveTo>
                  <a:pt x="575604" y="15598"/>
                </a:moveTo>
                <a:cubicBezTo>
                  <a:pt x="754648" y="58279"/>
                  <a:pt x="832310" y="138394"/>
                  <a:pt x="891945" y="315677"/>
                </a:cubicBezTo>
                <a:cubicBezTo>
                  <a:pt x="735646" y="397876"/>
                  <a:pt x="579461" y="368617"/>
                  <a:pt x="457200" y="457200"/>
                </a:cubicBezTo>
                <a:cubicBezTo>
                  <a:pt x="451392" y="293049"/>
                  <a:pt x="527308" y="202902"/>
                  <a:pt x="575604" y="15598"/>
                </a:cubicBezTo>
                <a:close/>
              </a:path>
              <a:path w="914400" h="914400" fill="none" extrusionOk="0">
                <a:moveTo>
                  <a:pt x="575604" y="15598"/>
                </a:moveTo>
                <a:cubicBezTo>
                  <a:pt x="716719" y="36933"/>
                  <a:pt x="849383" y="189195"/>
                  <a:pt x="891945" y="315677"/>
                </a:cubicBezTo>
              </a:path>
              <a:path w="914400" h="914400" fill="none" stroke="0" extrusionOk="0">
                <a:moveTo>
                  <a:pt x="575604" y="15598"/>
                </a:moveTo>
                <a:cubicBezTo>
                  <a:pt x="702389" y="34037"/>
                  <a:pt x="823315" y="196798"/>
                  <a:pt x="891945" y="315677"/>
                </a:cubicBezTo>
              </a:path>
            </a:pathLst>
          </a:custGeom>
          <a:ln w="28575">
            <a:solidFill>
              <a:srgbClr val="45DF0B"/>
            </a:solidFill>
            <a:headEnd type="non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610043074">
                  <a:prstGeom prst="arc">
                    <a:avLst>
                      <a:gd name="adj1" fmla="val 17100561"/>
                      <a:gd name="adj2" fmla="val 20518100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0" name="Arc 69">
            <a:extLst>
              <a:ext uri="{FF2B5EF4-FFF2-40B4-BE49-F238E27FC236}">
                <a16:creationId xmlns:a16="http://schemas.microsoft.com/office/drawing/2014/main" id="{03F3BB7F-0F33-4D09-BC82-55321EBEB84F}"/>
              </a:ext>
            </a:extLst>
          </p:cNvPr>
          <p:cNvSpPr/>
          <p:nvPr/>
        </p:nvSpPr>
        <p:spPr>
          <a:xfrm rot="21089826">
            <a:off x="5065700" y="967331"/>
            <a:ext cx="914400" cy="914400"/>
          </a:xfrm>
          <a:custGeom>
            <a:avLst/>
            <a:gdLst>
              <a:gd name="connsiteX0" fmla="*/ 575604 w 914400"/>
              <a:gd name="connsiteY0" fmla="*/ 15598 h 914400"/>
              <a:gd name="connsiteX1" fmla="*/ 891945 w 914400"/>
              <a:gd name="connsiteY1" fmla="*/ 315677 h 914400"/>
              <a:gd name="connsiteX2" fmla="*/ 457200 w 914400"/>
              <a:gd name="connsiteY2" fmla="*/ 457200 h 914400"/>
              <a:gd name="connsiteX3" fmla="*/ 575604 w 914400"/>
              <a:gd name="connsiteY3" fmla="*/ 15598 h 914400"/>
              <a:gd name="connsiteX0" fmla="*/ 575604 w 914400"/>
              <a:gd name="connsiteY0" fmla="*/ 15598 h 914400"/>
              <a:gd name="connsiteX1" fmla="*/ 891945 w 914400"/>
              <a:gd name="connsiteY1" fmla="*/ 315677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4400" h="914400" stroke="0" extrusionOk="0">
                <a:moveTo>
                  <a:pt x="575604" y="15598"/>
                </a:moveTo>
                <a:cubicBezTo>
                  <a:pt x="754648" y="58279"/>
                  <a:pt x="832310" y="138394"/>
                  <a:pt x="891945" y="315677"/>
                </a:cubicBezTo>
                <a:cubicBezTo>
                  <a:pt x="735646" y="397876"/>
                  <a:pt x="579461" y="368617"/>
                  <a:pt x="457200" y="457200"/>
                </a:cubicBezTo>
                <a:cubicBezTo>
                  <a:pt x="451392" y="293049"/>
                  <a:pt x="527308" y="202902"/>
                  <a:pt x="575604" y="15598"/>
                </a:cubicBezTo>
                <a:close/>
              </a:path>
              <a:path w="914400" h="914400" fill="none" extrusionOk="0">
                <a:moveTo>
                  <a:pt x="575604" y="15598"/>
                </a:moveTo>
                <a:cubicBezTo>
                  <a:pt x="716719" y="36933"/>
                  <a:pt x="849383" y="189195"/>
                  <a:pt x="891945" y="315677"/>
                </a:cubicBezTo>
              </a:path>
              <a:path w="914400" h="914400" fill="none" stroke="0" extrusionOk="0">
                <a:moveTo>
                  <a:pt x="575604" y="15598"/>
                </a:moveTo>
                <a:cubicBezTo>
                  <a:pt x="702389" y="34037"/>
                  <a:pt x="823315" y="196798"/>
                  <a:pt x="891945" y="315677"/>
                </a:cubicBezTo>
              </a:path>
            </a:pathLst>
          </a:custGeom>
          <a:ln w="28575">
            <a:solidFill>
              <a:srgbClr val="45DF0B"/>
            </a:solidFill>
            <a:headEnd type="non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610043074">
                  <a:prstGeom prst="arc">
                    <a:avLst>
                      <a:gd name="adj1" fmla="val 17100561"/>
                      <a:gd name="adj2" fmla="val 20518100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Arc 71">
            <a:extLst>
              <a:ext uri="{FF2B5EF4-FFF2-40B4-BE49-F238E27FC236}">
                <a16:creationId xmlns:a16="http://schemas.microsoft.com/office/drawing/2014/main" id="{8810F0E6-F99C-4A6C-AE54-3ED9A9DBDBE7}"/>
              </a:ext>
            </a:extLst>
          </p:cNvPr>
          <p:cNvSpPr/>
          <p:nvPr/>
        </p:nvSpPr>
        <p:spPr>
          <a:xfrm rot="3600000">
            <a:off x="6081364" y="2462063"/>
            <a:ext cx="914400" cy="914400"/>
          </a:xfrm>
          <a:custGeom>
            <a:avLst/>
            <a:gdLst>
              <a:gd name="connsiteX0" fmla="*/ 575604 w 914400"/>
              <a:gd name="connsiteY0" fmla="*/ 15598 h 914400"/>
              <a:gd name="connsiteX1" fmla="*/ 891945 w 914400"/>
              <a:gd name="connsiteY1" fmla="*/ 315677 h 914400"/>
              <a:gd name="connsiteX2" fmla="*/ 457200 w 914400"/>
              <a:gd name="connsiteY2" fmla="*/ 457200 h 914400"/>
              <a:gd name="connsiteX3" fmla="*/ 575604 w 914400"/>
              <a:gd name="connsiteY3" fmla="*/ 15598 h 914400"/>
              <a:gd name="connsiteX0" fmla="*/ 575604 w 914400"/>
              <a:gd name="connsiteY0" fmla="*/ 15598 h 914400"/>
              <a:gd name="connsiteX1" fmla="*/ 891945 w 914400"/>
              <a:gd name="connsiteY1" fmla="*/ 315677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4400" h="914400" stroke="0" extrusionOk="0">
                <a:moveTo>
                  <a:pt x="575604" y="15598"/>
                </a:moveTo>
                <a:cubicBezTo>
                  <a:pt x="754648" y="58279"/>
                  <a:pt x="832310" y="138394"/>
                  <a:pt x="891945" y="315677"/>
                </a:cubicBezTo>
                <a:cubicBezTo>
                  <a:pt x="735646" y="397876"/>
                  <a:pt x="579461" y="368617"/>
                  <a:pt x="457200" y="457200"/>
                </a:cubicBezTo>
                <a:cubicBezTo>
                  <a:pt x="451392" y="293049"/>
                  <a:pt x="527308" y="202902"/>
                  <a:pt x="575604" y="15598"/>
                </a:cubicBezTo>
                <a:close/>
              </a:path>
              <a:path w="914400" h="914400" fill="none" extrusionOk="0">
                <a:moveTo>
                  <a:pt x="575604" y="15598"/>
                </a:moveTo>
                <a:cubicBezTo>
                  <a:pt x="716719" y="36933"/>
                  <a:pt x="849383" y="189195"/>
                  <a:pt x="891945" y="315677"/>
                </a:cubicBezTo>
              </a:path>
              <a:path w="914400" h="914400" fill="none" stroke="0" extrusionOk="0">
                <a:moveTo>
                  <a:pt x="575604" y="15598"/>
                </a:moveTo>
                <a:cubicBezTo>
                  <a:pt x="702389" y="34037"/>
                  <a:pt x="823315" y="196798"/>
                  <a:pt x="891945" y="315677"/>
                </a:cubicBezTo>
              </a:path>
            </a:pathLst>
          </a:custGeom>
          <a:ln w="28575">
            <a:solidFill>
              <a:srgbClr val="45DF0B"/>
            </a:solidFill>
            <a:headEnd type="non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610043074">
                  <a:prstGeom prst="arc">
                    <a:avLst>
                      <a:gd name="adj1" fmla="val 17100561"/>
                      <a:gd name="adj2" fmla="val 20518100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3" name="Arc 72">
            <a:extLst>
              <a:ext uri="{FF2B5EF4-FFF2-40B4-BE49-F238E27FC236}">
                <a16:creationId xmlns:a16="http://schemas.microsoft.com/office/drawing/2014/main" id="{8113C356-0127-46F0-9CF9-6013FBFB1A80}"/>
              </a:ext>
            </a:extLst>
          </p:cNvPr>
          <p:cNvSpPr/>
          <p:nvPr/>
        </p:nvSpPr>
        <p:spPr>
          <a:xfrm rot="9000000">
            <a:off x="5447672" y="2990304"/>
            <a:ext cx="914400" cy="914400"/>
          </a:xfrm>
          <a:custGeom>
            <a:avLst/>
            <a:gdLst>
              <a:gd name="connsiteX0" fmla="*/ 575604 w 914400"/>
              <a:gd name="connsiteY0" fmla="*/ 15598 h 914400"/>
              <a:gd name="connsiteX1" fmla="*/ 891945 w 914400"/>
              <a:gd name="connsiteY1" fmla="*/ 315677 h 914400"/>
              <a:gd name="connsiteX2" fmla="*/ 457200 w 914400"/>
              <a:gd name="connsiteY2" fmla="*/ 457200 h 914400"/>
              <a:gd name="connsiteX3" fmla="*/ 575604 w 914400"/>
              <a:gd name="connsiteY3" fmla="*/ 15598 h 914400"/>
              <a:gd name="connsiteX0" fmla="*/ 575604 w 914400"/>
              <a:gd name="connsiteY0" fmla="*/ 15598 h 914400"/>
              <a:gd name="connsiteX1" fmla="*/ 891945 w 914400"/>
              <a:gd name="connsiteY1" fmla="*/ 315677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4400" h="914400" stroke="0" extrusionOk="0">
                <a:moveTo>
                  <a:pt x="575604" y="15598"/>
                </a:moveTo>
                <a:cubicBezTo>
                  <a:pt x="754648" y="58279"/>
                  <a:pt x="832310" y="138394"/>
                  <a:pt x="891945" y="315677"/>
                </a:cubicBezTo>
                <a:cubicBezTo>
                  <a:pt x="735646" y="397876"/>
                  <a:pt x="579461" y="368617"/>
                  <a:pt x="457200" y="457200"/>
                </a:cubicBezTo>
                <a:cubicBezTo>
                  <a:pt x="451392" y="293049"/>
                  <a:pt x="527308" y="202902"/>
                  <a:pt x="575604" y="15598"/>
                </a:cubicBezTo>
                <a:close/>
              </a:path>
              <a:path w="914400" h="914400" fill="none" extrusionOk="0">
                <a:moveTo>
                  <a:pt x="575604" y="15598"/>
                </a:moveTo>
                <a:cubicBezTo>
                  <a:pt x="716719" y="36933"/>
                  <a:pt x="849383" y="189195"/>
                  <a:pt x="891945" y="315677"/>
                </a:cubicBezTo>
              </a:path>
              <a:path w="914400" h="914400" fill="none" stroke="0" extrusionOk="0">
                <a:moveTo>
                  <a:pt x="575604" y="15598"/>
                </a:moveTo>
                <a:cubicBezTo>
                  <a:pt x="702389" y="34037"/>
                  <a:pt x="823315" y="196798"/>
                  <a:pt x="891945" y="315677"/>
                </a:cubicBezTo>
              </a:path>
            </a:pathLst>
          </a:custGeom>
          <a:ln w="28575">
            <a:solidFill>
              <a:srgbClr val="45DF0B"/>
            </a:solidFill>
            <a:headEnd type="non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610043074">
                  <a:prstGeom prst="arc">
                    <a:avLst>
                      <a:gd name="adj1" fmla="val 17100561"/>
                      <a:gd name="adj2" fmla="val 20518100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4" name="Arc 73">
            <a:extLst>
              <a:ext uri="{FF2B5EF4-FFF2-40B4-BE49-F238E27FC236}">
                <a16:creationId xmlns:a16="http://schemas.microsoft.com/office/drawing/2014/main" id="{5CCAAD6E-51B8-4386-9C62-0F713CA459D6}"/>
              </a:ext>
            </a:extLst>
          </p:cNvPr>
          <p:cNvSpPr/>
          <p:nvPr/>
        </p:nvSpPr>
        <p:spPr>
          <a:xfrm rot="510174" flipH="1">
            <a:off x="2829155" y="3313500"/>
            <a:ext cx="914400" cy="914400"/>
          </a:xfrm>
          <a:custGeom>
            <a:avLst/>
            <a:gdLst>
              <a:gd name="connsiteX0" fmla="*/ 575604 w 914400"/>
              <a:gd name="connsiteY0" fmla="*/ 15598 h 914400"/>
              <a:gd name="connsiteX1" fmla="*/ 891945 w 914400"/>
              <a:gd name="connsiteY1" fmla="*/ 315677 h 914400"/>
              <a:gd name="connsiteX2" fmla="*/ 457200 w 914400"/>
              <a:gd name="connsiteY2" fmla="*/ 457200 h 914400"/>
              <a:gd name="connsiteX3" fmla="*/ 575604 w 914400"/>
              <a:gd name="connsiteY3" fmla="*/ 15598 h 914400"/>
              <a:gd name="connsiteX0" fmla="*/ 575604 w 914400"/>
              <a:gd name="connsiteY0" fmla="*/ 15598 h 914400"/>
              <a:gd name="connsiteX1" fmla="*/ 891945 w 914400"/>
              <a:gd name="connsiteY1" fmla="*/ 315677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4400" h="914400" stroke="0" extrusionOk="0">
                <a:moveTo>
                  <a:pt x="575604" y="15598"/>
                </a:moveTo>
                <a:cubicBezTo>
                  <a:pt x="754648" y="58279"/>
                  <a:pt x="832310" y="138394"/>
                  <a:pt x="891945" y="315677"/>
                </a:cubicBezTo>
                <a:cubicBezTo>
                  <a:pt x="735646" y="397876"/>
                  <a:pt x="579461" y="368617"/>
                  <a:pt x="457200" y="457200"/>
                </a:cubicBezTo>
                <a:cubicBezTo>
                  <a:pt x="451392" y="293049"/>
                  <a:pt x="527308" y="202902"/>
                  <a:pt x="575604" y="15598"/>
                </a:cubicBezTo>
                <a:close/>
              </a:path>
              <a:path w="914400" h="914400" fill="none" extrusionOk="0">
                <a:moveTo>
                  <a:pt x="575604" y="15598"/>
                </a:moveTo>
                <a:cubicBezTo>
                  <a:pt x="716719" y="36933"/>
                  <a:pt x="849383" y="189195"/>
                  <a:pt x="891945" y="315677"/>
                </a:cubicBezTo>
              </a:path>
              <a:path w="914400" h="914400" fill="none" stroke="0" extrusionOk="0">
                <a:moveTo>
                  <a:pt x="575604" y="15598"/>
                </a:moveTo>
                <a:cubicBezTo>
                  <a:pt x="702389" y="34037"/>
                  <a:pt x="823315" y="196798"/>
                  <a:pt x="891945" y="315677"/>
                </a:cubicBezTo>
              </a:path>
            </a:pathLst>
          </a:custGeom>
          <a:ln w="28575">
            <a:solidFill>
              <a:srgbClr val="45DF0B"/>
            </a:solidFill>
            <a:headEnd type="non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610043074">
                  <a:prstGeom prst="arc">
                    <a:avLst>
                      <a:gd name="adj1" fmla="val 17100561"/>
                      <a:gd name="adj2" fmla="val 20518100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434E0823-EFB5-440F-9480-D964FAAF2BD6}"/>
              </a:ext>
            </a:extLst>
          </p:cNvPr>
          <p:cNvSpPr/>
          <p:nvPr/>
        </p:nvSpPr>
        <p:spPr>
          <a:xfrm rot="16200000">
            <a:off x="170044" y="1739159"/>
            <a:ext cx="287626" cy="260658"/>
          </a:xfrm>
          <a:prstGeom prst="downArrow">
            <a:avLst>
              <a:gd name="adj1" fmla="val 45109"/>
              <a:gd name="adj2" fmla="val 50000"/>
            </a:avLst>
          </a:prstGeom>
          <a:solidFill>
            <a:srgbClr val="45D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5" name="Picture 34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FC33D847-EFA5-4C60-B284-37B2E719F4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645" t="6878" r="14266" b="5112"/>
          <a:stretch/>
        </p:blipFill>
        <p:spPr>
          <a:xfrm>
            <a:off x="6131853" y="3343388"/>
            <a:ext cx="756387" cy="1520303"/>
          </a:xfrm>
          <a:prstGeom prst="roundRect">
            <a:avLst>
              <a:gd name="adj" fmla="val 13047"/>
            </a:avLst>
          </a:prstGeom>
        </p:spPr>
      </p:pic>
    </p:spTree>
    <p:extLst>
      <p:ext uri="{BB962C8B-B14F-4D97-AF65-F5344CB8AC3E}">
        <p14:creationId xmlns:p14="http://schemas.microsoft.com/office/powerpoint/2010/main" val="1253207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65855D6D-0091-4C07-9451-AF14EDA0217E}"/>
              </a:ext>
            </a:extLst>
          </p:cNvPr>
          <p:cNvSpPr/>
          <p:nvPr/>
        </p:nvSpPr>
        <p:spPr>
          <a:xfrm>
            <a:off x="3350348" y="1295400"/>
            <a:ext cx="5284045" cy="3430263"/>
          </a:xfrm>
          <a:prstGeom prst="rect">
            <a:avLst/>
          </a:prstGeom>
          <a:noFill/>
          <a:ln>
            <a:solidFill>
              <a:srgbClr val="2198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3EDA834-859B-49F6-B811-0F9DBA8D640F}"/>
              </a:ext>
            </a:extLst>
          </p:cNvPr>
          <p:cNvGrpSpPr/>
          <p:nvPr/>
        </p:nvGrpSpPr>
        <p:grpSpPr>
          <a:xfrm>
            <a:off x="7563783" y="2332618"/>
            <a:ext cx="810059" cy="807566"/>
            <a:chOff x="3199170" y="3336626"/>
            <a:chExt cx="1642534" cy="1642534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E3AC8E7F-5964-49F6-B227-9F1308B8EB95}"/>
                </a:ext>
              </a:extLst>
            </p:cNvPr>
            <p:cNvSpPr/>
            <p:nvPr/>
          </p:nvSpPr>
          <p:spPr>
            <a:xfrm>
              <a:off x="3199170" y="3336626"/>
              <a:ext cx="1642534" cy="1642534"/>
            </a:xfrm>
            <a:prstGeom prst="ellipse">
              <a:avLst/>
            </a:prstGeom>
            <a:solidFill>
              <a:srgbClr val="00AC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D992BB2-81E1-4BDA-95BD-3E2E101416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3389"/>
            <a:stretch/>
          </p:blipFill>
          <p:spPr>
            <a:xfrm>
              <a:off x="3356068" y="3978451"/>
              <a:ext cx="1328738" cy="358884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C48D4A5-4C68-4985-B638-44EF62E24A1A}"/>
              </a:ext>
            </a:extLst>
          </p:cNvPr>
          <p:cNvSpPr/>
          <p:nvPr/>
        </p:nvSpPr>
        <p:spPr>
          <a:xfrm>
            <a:off x="496474" y="1608058"/>
            <a:ext cx="19312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AU" sz="1200" dirty="0">
                <a:solidFill>
                  <a:prstClr val="black"/>
                </a:solidFill>
                <a:latin typeface="Arial Nova" panose="020B0504020202020204" pitchFamily="34" charset="0"/>
              </a:rPr>
              <a:t>TPES vendors </a:t>
            </a:r>
            <a:r>
              <a:rPr lang="en-AU" sz="1200" b="1" dirty="0">
                <a:solidFill>
                  <a:prstClr val="black"/>
                </a:solidFill>
                <a:latin typeface="Arial Nova" panose="020B0504020202020204" pitchFamily="34" charset="0"/>
              </a:rPr>
              <a:t>have been informed </a:t>
            </a:r>
            <a:r>
              <a:rPr lang="en-AU" sz="1200" dirty="0">
                <a:solidFill>
                  <a:prstClr val="black"/>
                </a:solidFill>
                <a:latin typeface="Arial Nova" panose="020B0504020202020204" pitchFamily="34" charset="0"/>
              </a:rPr>
              <a:t>of the move to </a:t>
            </a:r>
            <a:r>
              <a:rPr lang="en-AU" sz="1200" dirty="0" err="1">
                <a:solidFill>
                  <a:prstClr val="black"/>
                </a:solidFill>
                <a:latin typeface="Arial Nova" panose="020B0504020202020204" pitchFamily="34" charset="0"/>
              </a:rPr>
              <a:t>myGovID</a:t>
            </a:r>
            <a:endParaRPr lang="en-AU" sz="1200" dirty="0">
              <a:solidFill>
                <a:prstClr val="black"/>
              </a:solidFill>
              <a:latin typeface="Arial Nova" panose="020B05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1479636-AE50-4021-9C4C-2297A38B6C62}"/>
              </a:ext>
            </a:extLst>
          </p:cNvPr>
          <p:cNvSpPr txBox="1">
            <a:spLocks/>
          </p:cNvSpPr>
          <p:nvPr/>
        </p:nvSpPr>
        <p:spPr>
          <a:xfrm>
            <a:off x="341376" y="334901"/>
            <a:ext cx="7670739" cy="830997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sz="2400" b="1" dirty="0" err="1">
                <a:solidFill>
                  <a:srgbClr val="002D3F"/>
                </a:solidFill>
                <a:latin typeface="Arial Nova" panose="020B0504020202020204" pitchFamily="34" charset="0"/>
              </a:rPr>
              <a:t>myGovID</a:t>
            </a: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 and Third Party Employment Systems (TPES)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4BE21C9-541C-4B6D-9A9E-65CE1475031F}"/>
              </a:ext>
            </a:extLst>
          </p:cNvPr>
          <p:cNvGrpSpPr/>
          <p:nvPr/>
        </p:nvGrpSpPr>
        <p:grpSpPr>
          <a:xfrm>
            <a:off x="750221" y="2517682"/>
            <a:ext cx="1482432" cy="1477869"/>
            <a:chOff x="956357" y="1532685"/>
            <a:chExt cx="1763591" cy="1758164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81464C4-CF57-421E-AF6C-037857D9E7BF}"/>
                </a:ext>
              </a:extLst>
            </p:cNvPr>
            <p:cNvSpPr/>
            <p:nvPr/>
          </p:nvSpPr>
          <p:spPr>
            <a:xfrm>
              <a:off x="956357" y="1532685"/>
              <a:ext cx="1763591" cy="17581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4AEDD68D-83CA-4380-BBC8-302500380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362170" y="1824530"/>
              <a:ext cx="934955" cy="1009454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9867A9-CB8F-413D-A0FA-462C71ADA01F}"/>
              </a:ext>
            </a:extLst>
          </p:cNvPr>
          <p:cNvGrpSpPr/>
          <p:nvPr/>
        </p:nvGrpSpPr>
        <p:grpSpPr>
          <a:xfrm>
            <a:off x="750011" y="2502062"/>
            <a:ext cx="424202" cy="424202"/>
            <a:chOff x="3931138" y="1961661"/>
            <a:chExt cx="750277" cy="750277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3C17D31-138E-4739-8CB3-A4EA1BCA8D60}"/>
                </a:ext>
              </a:extLst>
            </p:cNvPr>
            <p:cNvSpPr/>
            <p:nvPr/>
          </p:nvSpPr>
          <p:spPr>
            <a:xfrm>
              <a:off x="3931138" y="1961661"/>
              <a:ext cx="750277" cy="750277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26" name="Graphic 25" descr="Checkmark">
              <a:extLst>
                <a:ext uri="{FF2B5EF4-FFF2-40B4-BE49-F238E27FC236}">
                  <a16:creationId xmlns:a16="http://schemas.microsoft.com/office/drawing/2014/main" id="{CA26B00D-4FE9-41CE-A259-F2E04D6CDA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077676" y="2116931"/>
              <a:ext cx="457200" cy="457200"/>
            </a:xfrm>
            <a:prstGeom prst="rect">
              <a:avLst/>
            </a:prstGeom>
          </p:spPr>
        </p:pic>
      </p:grpSp>
      <p:pic>
        <p:nvPicPr>
          <p:cNvPr id="30" name="Picture 29" descr="A picture containing text, electronics, indoor, hand&#10;&#10;Description automatically generated">
            <a:extLst>
              <a:ext uri="{FF2B5EF4-FFF2-40B4-BE49-F238E27FC236}">
                <a16:creationId xmlns:a16="http://schemas.microsoft.com/office/drawing/2014/main" id="{84B2813C-ED76-4DB2-A004-F3B41E0211D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90" t="10047" r="31871" b="14061"/>
          <a:stretch/>
        </p:blipFill>
        <p:spPr>
          <a:xfrm>
            <a:off x="3922003" y="2137689"/>
            <a:ext cx="1421319" cy="1421319"/>
          </a:xfrm>
          <a:prstGeom prst="ellipse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DF14032-B7CE-474A-A308-058241605F94}"/>
              </a:ext>
            </a:extLst>
          </p:cNvPr>
          <p:cNvSpPr/>
          <p:nvPr/>
        </p:nvSpPr>
        <p:spPr>
          <a:xfrm>
            <a:off x="3583902" y="3796133"/>
            <a:ext cx="2192590" cy="472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AU" sz="1200" b="1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PES authentication systems </a:t>
            </a:r>
            <a:r>
              <a:rPr lang="en-AU" sz="12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ll not be affected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293686C-3990-4396-96A6-6D4FAFD13AAE}"/>
              </a:ext>
            </a:extLst>
          </p:cNvPr>
          <p:cNvSpPr/>
          <p:nvPr/>
        </p:nvSpPr>
        <p:spPr>
          <a:xfrm>
            <a:off x="6055088" y="3780368"/>
            <a:ext cx="2192590" cy="472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AU" sz="1200" b="1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PES systems that interact with ESS </a:t>
            </a:r>
            <a:r>
              <a:rPr lang="en-AU" sz="12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ll not be affected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EE1F4B3-7FED-4E45-84C6-70F46C2E37C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98" r="16598"/>
          <a:stretch/>
        </p:blipFill>
        <p:spPr>
          <a:xfrm>
            <a:off x="5902170" y="2031187"/>
            <a:ext cx="1421319" cy="1421319"/>
          </a:xfrm>
          <a:prstGeom prst="ellipse">
            <a:avLst/>
          </a:prstGeom>
        </p:spPr>
      </p:pic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7A62A772-6374-497D-94BD-BAE315E0FC3A}"/>
              </a:ext>
            </a:extLst>
          </p:cNvPr>
          <p:cNvCxnSpPr>
            <a:cxnSpLocks/>
            <a:stCxn id="33" idx="6"/>
            <a:endCxn id="5" idx="2"/>
          </p:cNvCxnSpPr>
          <p:nvPr/>
        </p:nvCxnSpPr>
        <p:spPr>
          <a:xfrm flipV="1">
            <a:off x="7323489" y="2736401"/>
            <a:ext cx="240294" cy="5446"/>
          </a:xfrm>
          <a:prstGeom prst="straightConnector1">
            <a:avLst/>
          </a:prstGeom>
          <a:ln>
            <a:solidFill>
              <a:srgbClr val="00ACAC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9E473F4-D003-41DD-B802-7E2D3505058D}"/>
              </a:ext>
            </a:extLst>
          </p:cNvPr>
          <p:cNvGrpSpPr/>
          <p:nvPr/>
        </p:nvGrpSpPr>
        <p:grpSpPr>
          <a:xfrm>
            <a:off x="3126060" y="1089256"/>
            <a:ext cx="2891880" cy="542733"/>
            <a:chOff x="3102910" y="2798452"/>
            <a:chExt cx="2891880" cy="542733"/>
          </a:xfrm>
        </p:grpSpPr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A9DEA1C8-C1D2-4E8D-86EE-767436A0F6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flipH="1">
              <a:off x="3102910" y="2798452"/>
              <a:ext cx="2891880" cy="542733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8C0951-94BB-4D9E-A23F-1625E78A576E}"/>
                </a:ext>
              </a:extLst>
            </p:cNvPr>
            <p:cNvSpPr/>
            <p:nvPr/>
          </p:nvSpPr>
          <p:spPr>
            <a:xfrm>
              <a:off x="3296311" y="2838985"/>
              <a:ext cx="250622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AU" sz="1200" dirty="0">
                  <a:solidFill>
                    <a:schemeClr val="bg1"/>
                  </a:solidFill>
                  <a:latin typeface="Arial Nova" panose="020B0504020202020204" pitchFamily="34" charset="0"/>
                </a:rPr>
                <a:t>Feedback indicates </a:t>
              </a:r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</a:rPr>
                <a:t>no significant change </a:t>
              </a:r>
              <a:r>
                <a:rPr lang="en-AU" sz="1200" dirty="0">
                  <a:solidFill>
                    <a:schemeClr val="bg1"/>
                  </a:solidFill>
                  <a:latin typeface="Arial Nova" panose="020B0504020202020204" pitchFamily="34" charset="0"/>
                </a:rPr>
                <a:t>is expec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4135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>
            <a:extLst>
              <a:ext uri="{FF2B5EF4-FFF2-40B4-BE49-F238E27FC236}">
                <a16:creationId xmlns:a16="http://schemas.microsoft.com/office/drawing/2014/main" id="{FEA566A2-A5BE-4274-BDE7-9EA58329C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6482" y="522466"/>
            <a:ext cx="3871033" cy="379544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F91AA9E-9E27-4516-9C94-CF024EBFDD59}"/>
              </a:ext>
            </a:extLst>
          </p:cNvPr>
          <p:cNvSpPr/>
          <p:nvPr/>
        </p:nvSpPr>
        <p:spPr>
          <a:xfrm>
            <a:off x="1411720" y="568740"/>
            <a:ext cx="13898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Information Forum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5FDAD5-1A1B-4627-91FD-E76056144DBA}"/>
              </a:ext>
            </a:extLst>
          </p:cNvPr>
          <p:cNvSpPr/>
          <p:nvPr/>
        </p:nvSpPr>
        <p:spPr>
          <a:xfrm>
            <a:off x="488644" y="2618047"/>
            <a:ext cx="18461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Instructional content and training materia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E82EA2-1AFD-4B81-AC1B-996C23A34B76}"/>
              </a:ext>
            </a:extLst>
          </p:cNvPr>
          <p:cNvSpPr/>
          <p:nvPr/>
        </p:nvSpPr>
        <p:spPr>
          <a:xfrm>
            <a:off x="6085659" y="547852"/>
            <a:ext cx="19252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hased communic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0EB932-D378-4E7D-AD8D-8C860428C320}"/>
              </a:ext>
            </a:extLst>
          </p:cNvPr>
          <p:cNvSpPr/>
          <p:nvPr/>
        </p:nvSpPr>
        <p:spPr>
          <a:xfrm>
            <a:off x="3353822" y="4459934"/>
            <a:ext cx="239691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Training for State Office and Helpdesk staff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7A70841-516C-4288-8307-F7B6240E7E7D}"/>
              </a:ext>
            </a:extLst>
          </p:cNvPr>
          <p:cNvSpPr/>
          <p:nvPr/>
        </p:nvSpPr>
        <p:spPr>
          <a:xfrm>
            <a:off x="6793857" y="2725769"/>
            <a:ext cx="19252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Monitor </a:t>
            </a:r>
            <a:r>
              <a:rPr kumimoji="0" lang="en-A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myGovID</a:t>
            </a: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 adoption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F5DD418-6619-470B-85E6-0BA9A28B7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-1170285"/>
            <a:ext cx="6364188" cy="993775"/>
          </a:xfrm>
        </p:spPr>
        <p:txBody>
          <a:bodyPr/>
          <a:lstStyle/>
          <a:p>
            <a:r>
              <a:rPr lang="en-AU" dirty="0">
                <a:solidFill>
                  <a:srgbClr val="E6E6E6"/>
                </a:solidFill>
              </a:rPr>
              <a:t>Detailed plan for engagement</a:t>
            </a: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043BBBF4-FC2E-4EA9-8A7E-3DB0567F82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91880" y="1091960"/>
            <a:ext cx="688560" cy="68856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1ED6E405-C796-4131-A496-040D538DFD7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60560" y="2457850"/>
            <a:ext cx="625964" cy="625964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D9992CE3-CC6B-4D47-B657-54FFEC205E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60754" y="2356756"/>
            <a:ext cx="724905" cy="724905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787B263B-805E-4471-98BF-EC1E44D280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13537" y="983125"/>
            <a:ext cx="797395" cy="797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555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D2A8A998-B9A9-4BD7-97EB-7237D8F60590}"/>
              </a:ext>
            </a:extLst>
          </p:cNvPr>
          <p:cNvGrpSpPr/>
          <p:nvPr/>
        </p:nvGrpSpPr>
        <p:grpSpPr>
          <a:xfrm>
            <a:off x="1030739" y="764500"/>
            <a:ext cx="6725957" cy="4383763"/>
            <a:chOff x="1059315" y="750212"/>
            <a:chExt cx="6725957" cy="438376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32A5DAA-AA80-4F2F-BAFD-B897F60A0F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558" b="1293"/>
            <a:stretch/>
          </p:blipFill>
          <p:spPr>
            <a:xfrm>
              <a:off x="1059315" y="750212"/>
              <a:ext cx="6725957" cy="4383763"/>
            </a:xfrm>
            <a:prstGeom prst="rect">
              <a:avLst/>
            </a:prstGeom>
          </p:spPr>
        </p:pic>
        <p:pic>
          <p:nvPicPr>
            <p:cNvPr id="31" name="Graphic 30" descr="Wireless">
              <a:extLst>
                <a:ext uri="{FF2B5EF4-FFF2-40B4-BE49-F238E27FC236}">
                  <a16:creationId xmlns:a16="http://schemas.microsoft.com/office/drawing/2014/main" id="{35D40CEC-47BA-4C4F-B9F4-94601019F6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6772909" y="1601533"/>
              <a:ext cx="83214" cy="83214"/>
            </a:xfrm>
            <a:prstGeom prst="rect">
              <a:avLst/>
            </a:prstGeom>
          </p:spPr>
        </p:pic>
        <p:pic>
          <p:nvPicPr>
            <p:cNvPr id="33" name="Graphic 32" descr="Full battery">
              <a:extLst>
                <a:ext uri="{FF2B5EF4-FFF2-40B4-BE49-F238E27FC236}">
                  <a16:creationId xmlns:a16="http://schemas.microsoft.com/office/drawing/2014/main" id="{031187DC-3C58-4D97-BE58-FC63BA507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62984" y="1595804"/>
              <a:ext cx="99434" cy="99434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23D0FA8-04A2-4492-BD7F-4E3FCAA5BB1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22057" y="2257550"/>
            <a:ext cx="1002817" cy="1002817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D5D9DF0-1F2E-4F92-9037-4AE918BEB84B}"/>
              </a:ext>
            </a:extLst>
          </p:cNvPr>
          <p:cNvSpPr/>
          <p:nvPr/>
        </p:nvSpPr>
        <p:spPr>
          <a:xfrm>
            <a:off x="230210" y="3056829"/>
            <a:ext cx="1852611" cy="118445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C3801C-91A1-49ED-8054-4C6D88CA8B59}"/>
              </a:ext>
            </a:extLst>
          </p:cNvPr>
          <p:cNvSpPr/>
          <p:nvPr/>
        </p:nvSpPr>
        <p:spPr>
          <a:xfrm>
            <a:off x="369326" y="3221951"/>
            <a:ext cx="1574378" cy="854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ll it cost money to use </a:t>
            </a:r>
            <a:r>
              <a:rPr lang="en-AU" sz="1200" b="1" dirty="0" err="1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200" b="1" dirty="0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No, there are no user charges for </a:t>
            </a:r>
            <a:r>
              <a:rPr lang="en-AU" sz="1200" dirty="0" err="1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myGovID</a:t>
            </a: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E387427-E52A-49C4-895F-6DF551F50EF9}"/>
              </a:ext>
            </a:extLst>
          </p:cNvPr>
          <p:cNvSpPr/>
          <p:nvPr/>
        </p:nvSpPr>
        <p:spPr>
          <a:xfrm>
            <a:off x="1877569" y="2968000"/>
            <a:ext cx="341527" cy="341527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B789B6F-48BB-40D0-816F-5A2A686A5B20}"/>
              </a:ext>
            </a:extLst>
          </p:cNvPr>
          <p:cNvSpPr/>
          <p:nvPr/>
        </p:nvSpPr>
        <p:spPr>
          <a:xfrm>
            <a:off x="6930494" y="3298812"/>
            <a:ext cx="1998413" cy="122648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8D2BC5F-F5A2-4542-AF79-DF5354186821}"/>
              </a:ext>
            </a:extLst>
          </p:cNvPr>
          <p:cNvSpPr/>
          <p:nvPr/>
        </p:nvSpPr>
        <p:spPr>
          <a:xfrm>
            <a:off x="7057244" y="3388002"/>
            <a:ext cx="1866900" cy="1048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 I need an expensive smartphone to setup and use </a:t>
            </a:r>
            <a:r>
              <a:rPr lang="en-AU" sz="1200" b="1" dirty="0" err="1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2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A simple iOS or Android device is required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6F9C738-47D2-4E82-8A6D-C81B6AC48BF0}"/>
              </a:ext>
            </a:extLst>
          </p:cNvPr>
          <p:cNvSpPr/>
          <p:nvPr/>
        </p:nvSpPr>
        <p:spPr>
          <a:xfrm>
            <a:off x="6797244" y="3172644"/>
            <a:ext cx="341527" cy="341527"/>
          </a:xfrm>
          <a:prstGeom prst="ellipse">
            <a:avLst/>
          </a:prstGeom>
          <a:solidFill>
            <a:srgbClr val="009A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5B704B2-9761-47F5-89E9-C6403E891820}"/>
              </a:ext>
            </a:extLst>
          </p:cNvPr>
          <p:cNvSpPr/>
          <p:nvPr/>
        </p:nvSpPr>
        <p:spPr>
          <a:xfrm>
            <a:off x="7030765" y="536556"/>
            <a:ext cx="1970438" cy="119431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6666710-84A5-41DC-A28A-AD1C412538C3}"/>
              </a:ext>
            </a:extLst>
          </p:cNvPr>
          <p:cNvSpPr/>
          <p:nvPr/>
        </p:nvSpPr>
        <p:spPr>
          <a:xfrm>
            <a:off x="7132625" y="633643"/>
            <a:ext cx="1871663" cy="1048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 I need mobile phone coverage to use </a:t>
            </a:r>
            <a:r>
              <a:rPr lang="en-AU" sz="1200" b="1" dirty="0" err="1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2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Only internet access is required (</a:t>
            </a:r>
            <a:r>
              <a:rPr lang="en-AU" sz="1200" dirty="0" err="1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WiFi</a:t>
            </a: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, Bluetooth or mobile data)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638494F-D46A-4755-82B3-E332D643DBBE}"/>
              </a:ext>
            </a:extLst>
          </p:cNvPr>
          <p:cNvSpPr/>
          <p:nvPr/>
        </p:nvSpPr>
        <p:spPr>
          <a:xfrm>
            <a:off x="6827547" y="1392025"/>
            <a:ext cx="341527" cy="341527"/>
          </a:xfrm>
          <a:prstGeom prst="ellipse">
            <a:avLst/>
          </a:prstGeom>
          <a:solidFill>
            <a:srgbClr val="009A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AEAD43B-C0FA-4893-9199-F0497E31880F}"/>
              </a:ext>
            </a:extLst>
          </p:cNvPr>
          <p:cNvSpPr/>
          <p:nvPr/>
        </p:nvSpPr>
        <p:spPr>
          <a:xfrm>
            <a:off x="3205872" y="3545765"/>
            <a:ext cx="3262310" cy="14992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CCD3EB2-2818-4A93-ADD4-651DBFB3AB7E}"/>
              </a:ext>
            </a:extLst>
          </p:cNvPr>
          <p:cNvSpPr/>
          <p:nvPr/>
        </p:nvSpPr>
        <p:spPr>
          <a:xfrm>
            <a:off x="3455761" y="3577415"/>
            <a:ext cx="2822722" cy="14359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rgbClr val="0070C0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es this mean that staff can only see ESS on the smartphone or mobile device that I used to setup the </a:t>
            </a:r>
            <a:r>
              <a:rPr lang="en-AU" sz="1200" b="1" dirty="0" err="1">
                <a:solidFill>
                  <a:srgbClr val="0070C0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200" b="1" dirty="0">
                <a:solidFill>
                  <a:srgbClr val="0070C0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pp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login to ESS using myGovID as your authentication and then continue to work in ESS via any browser enabled device including a PC or laptop.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24729D0-1AE2-4CD9-96F2-FDE3920A41C0}"/>
              </a:ext>
            </a:extLst>
          </p:cNvPr>
          <p:cNvSpPr/>
          <p:nvPr/>
        </p:nvSpPr>
        <p:spPr>
          <a:xfrm>
            <a:off x="3108251" y="3438268"/>
            <a:ext cx="341527" cy="341527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29" name="Speech Bubble: Oval 28">
            <a:extLst>
              <a:ext uri="{FF2B5EF4-FFF2-40B4-BE49-F238E27FC236}">
                <a16:creationId xmlns:a16="http://schemas.microsoft.com/office/drawing/2014/main" id="{9D136363-495A-4F26-A1B3-8BD1EC84CB18}"/>
              </a:ext>
            </a:extLst>
          </p:cNvPr>
          <p:cNvSpPr/>
          <p:nvPr/>
        </p:nvSpPr>
        <p:spPr>
          <a:xfrm>
            <a:off x="313587" y="341266"/>
            <a:ext cx="583902" cy="552243"/>
          </a:xfrm>
          <a:prstGeom prst="wedgeEllipseCallout">
            <a:avLst>
              <a:gd name="adj1" fmla="val -24092"/>
              <a:gd name="adj2" fmla="val 61284"/>
            </a:avLst>
          </a:prstGeom>
          <a:solidFill>
            <a:srgbClr val="009A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800" b="1" dirty="0">
                <a:solidFill>
                  <a:schemeClr val="bg1"/>
                </a:solidFill>
                <a:latin typeface="Arial Nova narrow"/>
              </a:rPr>
              <a:t>?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CA3ECB-7C6A-0F40-96E2-0D2295F60A66}"/>
              </a:ext>
            </a:extLst>
          </p:cNvPr>
          <p:cNvSpPr txBox="1">
            <a:spLocks/>
          </p:cNvSpPr>
          <p:nvPr/>
        </p:nvSpPr>
        <p:spPr>
          <a:xfrm>
            <a:off x="953871" y="415835"/>
            <a:ext cx="4723629" cy="400110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2000" b="1" dirty="0">
                <a:solidFill>
                  <a:srgbClr val="009A6D"/>
                </a:solidFill>
                <a:latin typeface="Arial Nova" panose="020B0504020202020204" pitchFamily="34" charset="0"/>
              </a:rPr>
              <a:t>Frequently Asked Questions </a:t>
            </a:r>
            <a:endParaRPr lang="en-AU" sz="2000" dirty="0">
              <a:solidFill>
                <a:srgbClr val="009A6D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734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7A57E9E-C08F-4285-A42F-34CE11636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1677" y="949380"/>
            <a:ext cx="7962323" cy="4196502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3DC50E7-B8E6-4C76-8906-72C0E5B8C6A2}"/>
              </a:ext>
            </a:extLst>
          </p:cNvPr>
          <p:cNvSpPr/>
          <p:nvPr/>
        </p:nvSpPr>
        <p:spPr>
          <a:xfrm>
            <a:off x="6419790" y="248535"/>
            <a:ext cx="2349557" cy="92156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B5BA01-4529-4649-9381-60F292BCB02D}"/>
              </a:ext>
            </a:extLst>
          </p:cNvPr>
          <p:cNvSpPr/>
          <p:nvPr/>
        </p:nvSpPr>
        <p:spPr>
          <a:xfrm>
            <a:off x="6558906" y="388657"/>
            <a:ext cx="2143696" cy="660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o does </a:t>
            </a:r>
            <a:r>
              <a:rPr lang="en-AU" sz="1200" b="1" dirty="0" err="1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200" b="1" dirty="0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elong to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 err="1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myGovID</a:t>
            </a: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 belongs to the individual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751D55-2798-4B3F-8446-8DBE86FAD9EE}"/>
              </a:ext>
            </a:extLst>
          </p:cNvPr>
          <p:cNvSpPr/>
          <p:nvPr/>
        </p:nvSpPr>
        <p:spPr>
          <a:xfrm>
            <a:off x="7962323" y="952845"/>
            <a:ext cx="341527" cy="341527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21DB3B6-E319-491E-8770-33245DEA75D7}"/>
              </a:ext>
            </a:extLst>
          </p:cNvPr>
          <p:cNvGrpSpPr/>
          <p:nvPr/>
        </p:nvGrpSpPr>
        <p:grpSpPr>
          <a:xfrm>
            <a:off x="219593" y="3531096"/>
            <a:ext cx="3148035" cy="1473463"/>
            <a:chOff x="5355296" y="157987"/>
            <a:chExt cx="3148035" cy="1473463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9B3DC51-7ABE-4183-AB4E-9CA736A16670}"/>
                </a:ext>
              </a:extLst>
            </p:cNvPr>
            <p:cNvSpPr/>
            <p:nvPr/>
          </p:nvSpPr>
          <p:spPr>
            <a:xfrm>
              <a:off x="5355296" y="404962"/>
              <a:ext cx="3148035" cy="122648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D217A1-FCA0-41BE-97AF-ED2B2B47B5BC}"/>
                </a:ext>
              </a:extLst>
            </p:cNvPr>
            <p:cNvSpPr/>
            <p:nvPr/>
          </p:nvSpPr>
          <p:spPr>
            <a:xfrm>
              <a:off x="5575090" y="494152"/>
              <a:ext cx="2822722" cy="1048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05000"/>
                </a:lnSpc>
                <a:buSzPts val="1000"/>
                <a:tabLst>
                  <a:tab pos="914400" algn="l"/>
                </a:tabLst>
              </a:pPr>
              <a:r>
                <a:rPr lang="en-AU" sz="1200" b="1" dirty="0">
                  <a:solidFill>
                    <a:srgbClr val="0070C0"/>
                  </a:solidFill>
                  <a:latin typeface="Arial Nova Cond" panose="020B0506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f </a:t>
              </a:r>
              <a:r>
                <a:rPr lang="en-AU" sz="1200" b="1" dirty="0" err="1">
                  <a:solidFill>
                    <a:srgbClr val="0070C0"/>
                  </a:solidFill>
                  <a:latin typeface="Arial Nova Cond" panose="020B0506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yGovID</a:t>
              </a:r>
              <a:r>
                <a:rPr lang="en-AU" sz="1200" b="1" dirty="0">
                  <a:solidFill>
                    <a:srgbClr val="0070C0"/>
                  </a:solidFill>
                  <a:latin typeface="Arial Nova Cond" panose="020B0506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belongs to the individual user, how does an employer or provider control the access of their staff?</a:t>
              </a:r>
            </a:p>
            <a:p>
              <a:pPr>
                <a:lnSpc>
                  <a:spcPct val="105000"/>
                </a:lnSpc>
                <a:buSzPts val="1000"/>
                <a:tabLst>
                  <a:tab pos="914400" algn="l"/>
                </a:tabLst>
              </a:pPr>
              <a:r>
                <a:rPr lang="en-AU" sz="1200" dirty="0">
                  <a:solidFill>
                    <a:schemeClr val="bg1">
                      <a:lumMod val="50000"/>
                    </a:schemeClr>
                  </a:solidFill>
                  <a:latin typeface="Arial Nova Cond" panose="020B0506020202020204" pitchFamily="34" charset="0"/>
                  <a:cs typeface="Times New Roman" panose="02020603050405020304" pitchFamily="18" charset="0"/>
                </a:rPr>
                <a:t>Employers or providers control an individual’s authority to access ESS.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E9F258A-E20E-46B6-AB09-57E22C08F581}"/>
                </a:ext>
              </a:extLst>
            </p:cNvPr>
            <p:cNvSpPr/>
            <p:nvPr/>
          </p:nvSpPr>
          <p:spPr>
            <a:xfrm>
              <a:off x="6317380" y="157987"/>
              <a:ext cx="341527" cy="341527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>
                  <a:latin typeface="Arial Nova narrow"/>
                </a:rPr>
                <a:t>?</a:t>
              </a:r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A9FD292-C6E5-4AAF-8F5E-51B2C53F7300}"/>
              </a:ext>
            </a:extLst>
          </p:cNvPr>
          <p:cNvSpPr/>
          <p:nvPr/>
        </p:nvSpPr>
        <p:spPr>
          <a:xfrm>
            <a:off x="3753705" y="1912382"/>
            <a:ext cx="2407203" cy="8542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6D7965-B28F-4C06-AA88-86FA3D0F382B}"/>
              </a:ext>
            </a:extLst>
          </p:cNvPr>
          <p:cNvSpPr/>
          <p:nvPr/>
        </p:nvSpPr>
        <p:spPr>
          <a:xfrm>
            <a:off x="3880455" y="2001571"/>
            <a:ext cx="2090630" cy="660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 Providers need to build any new IT systems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No new IT systems required.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34F4B5E-A050-4C2F-920B-2EE653BFC1FC}"/>
              </a:ext>
            </a:extLst>
          </p:cNvPr>
          <p:cNvSpPr/>
          <p:nvPr/>
        </p:nvSpPr>
        <p:spPr>
          <a:xfrm>
            <a:off x="5852571" y="2681729"/>
            <a:ext cx="341527" cy="341527"/>
          </a:xfrm>
          <a:prstGeom prst="ellipse">
            <a:avLst/>
          </a:prstGeom>
          <a:solidFill>
            <a:srgbClr val="009A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9E08095-16AF-4267-BCCB-3241E8161F1E}"/>
              </a:ext>
            </a:extLst>
          </p:cNvPr>
          <p:cNvSpPr/>
          <p:nvPr/>
        </p:nvSpPr>
        <p:spPr>
          <a:xfrm>
            <a:off x="6558907" y="2758742"/>
            <a:ext cx="2349558" cy="109231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4C8173D-4782-4325-8270-5604F7626E6A}"/>
              </a:ext>
            </a:extLst>
          </p:cNvPr>
          <p:cNvSpPr/>
          <p:nvPr/>
        </p:nvSpPr>
        <p:spPr>
          <a:xfrm>
            <a:off x="6698021" y="2883019"/>
            <a:ext cx="2168345" cy="854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b="1" dirty="0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ll staff need a new </a:t>
            </a:r>
            <a:r>
              <a:rPr lang="en-AU" sz="1200" b="1" dirty="0" err="1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200" b="1" dirty="0">
                <a:solidFill>
                  <a:schemeClr val="accent4">
                    <a:lumMod val="75000"/>
                  </a:schemeClr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f they change employers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Staff keep the same </a:t>
            </a:r>
            <a:r>
              <a:rPr lang="en-AU" sz="1200" dirty="0" err="1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myGovID</a:t>
            </a: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 account foreve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D596DC3-A8E8-4B19-A507-04F7BFA02991}"/>
              </a:ext>
            </a:extLst>
          </p:cNvPr>
          <p:cNvSpPr/>
          <p:nvPr/>
        </p:nvSpPr>
        <p:spPr>
          <a:xfrm>
            <a:off x="8628348" y="2520197"/>
            <a:ext cx="341527" cy="341527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782BD0B-D683-496C-90E3-50FF6986DD4A}"/>
              </a:ext>
            </a:extLst>
          </p:cNvPr>
          <p:cNvSpPr/>
          <p:nvPr/>
        </p:nvSpPr>
        <p:spPr>
          <a:xfrm>
            <a:off x="4952028" y="3985195"/>
            <a:ext cx="4017847" cy="1049150"/>
          </a:xfrm>
          <a:prstGeom prst="roundRect">
            <a:avLst>
              <a:gd name="adj" fmla="val 12604"/>
            </a:avLst>
          </a:prstGeom>
          <a:solidFill>
            <a:srgbClr val="E2F0D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2A62AA-E075-479C-90DF-6D9E439D3675}"/>
              </a:ext>
            </a:extLst>
          </p:cNvPr>
          <p:cNvSpPr/>
          <p:nvPr/>
        </p:nvSpPr>
        <p:spPr>
          <a:xfrm>
            <a:off x="5126531" y="4109472"/>
            <a:ext cx="3843344" cy="79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1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s </a:t>
            </a:r>
            <a:r>
              <a:rPr lang="en-AU" sz="1100" b="1" dirty="0" err="1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1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een rolled out elsewhere and have we learnt anything from other implementations of </a:t>
            </a:r>
            <a:r>
              <a:rPr lang="en-AU" sz="1100" b="1" dirty="0" err="1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GovID</a:t>
            </a:r>
            <a:r>
              <a:rPr lang="en-AU" sz="1100" b="1" dirty="0">
                <a:solidFill>
                  <a:srgbClr val="009A6D"/>
                </a:solidFill>
                <a:latin typeface="Arial Nova Cond" panose="020B0506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>
              <a:lnSpc>
                <a:spcPct val="105000"/>
              </a:lnSpc>
              <a:buSzPts val="1000"/>
              <a:tabLst>
                <a:tab pos="914400" algn="l"/>
              </a:tabLst>
            </a:pPr>
            <a:r>
              <a:rPr lang="en-AU" sz="1100" dirty="0">
                <a:solidFill>
                  <a:schemeClr val="bg1">
                    <a:lumMod val="50000"/>
                  </a:schemeClr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Approximately 2 million users currently use myGovID to access Government online services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E77B0E1-904A-4C9C-95B9-5D0F08AACD15}"/>
              </a:ext>
            </a:extLst>
          </p:cNvPr>
          <p:cNvSpPr/>
          <p:nvPr/>
        </p:nvSpPr>
        <p:spPr>
          <a:xfrm>
            <a:off x="4780160" y="3896068"/>
            <a:ext cx="341527" cy="341527"/>
          </a:xfrm>
          <a:prstGeom prst="ellipse">
            <a:avLst/>
          </a:prstGeom>
          <a:solidFill>
            <a:srgbClr val="009A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latin typeface="Arial Nova narrow"/>
              </a:rPr>
              <a:t>?</a:t>
            </a:r>
          </a:p>
        </p:txBody>
      </p:sp>
      <p:sp>
        <p:nvSpPr>
          <p:cNvPr id="22" name="Speech Bubble: Oval 21">
            <a:extLst>
              <a:ext uri="{FF2B5EF4-FFF2-40B4-BE49-F238E27FC236}">
                <a16:creationId xmlns:a16="http://schemas.microsoft.com/office/drawing/2014/main" id="{879B5398-8954-48DC-8840-2DECDED38667}"/>
              </a:ext>
            </a:extLst>
          </p:cNvPr>
          <p:cNvSpPr/>
          <p:nvPr/>
        </p:nvSpPr>
        <p:spPr>
          <a:xfrm>
            <a:off x="313587" y="341266"/>
            <a:ext cx="583902" cy="552243"/>
          </a:xfrm>
          <a:prstGeom prst="wedgeEllipseCallout">
            <a:avLst>
              <a:gd name="adj1" fmla="val -24092"/>
              <a:gd name="adj2" fmla="val 61284"/>
            </a:avLst>
          </a:prstGeom>
          <a:solidFill>
            <a:srgbClr val="009A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800" b="1" dirty="0">
                <a:solidFill>
                  <a:schemeClr val="bg1"/>
                </a:solidFill>
                <a:latin typeface="Arial Nova narrow"/>
              </a:rPr>
              <a:t>?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D4FAD3D-65FD-4CB9-B240-AE2108A7CB32}"/>
              </a:ext>
            </a:extLst>
          </p:cNvPr>
          <p:cNvSpPr txBox="1">
            <a:spLocks/>
          </p:cNvSpPr>
          <p:nvPr/>
        </p:nvSpPr>
        <p:spPr>
          <a:xfrm>
            <a:off x="953871" y="415835"/>
            <a:ext cx="4723629" cy="400110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2000" b="1" dirty="0">
                <a:solidFill>
                  <a:srgbClr val="009A6D"/>
                </a:solidFill>
                <a:latin typeface="Arial Nova" panose="020B0504020202020204" pitchFamily="34" charset="0"/>
              </a:rPr>
              <a:t>Frequently Asked Questions </a:t>
            </a:r>
            <a:endParaRPr lang="en-AU" sz="2000" dirty="0">
              <a:solidFill>
                <a:srgbClr val="009A6D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9231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18CB26-6A37-43F1-A4A5-FC928510F7FC}"/>
              </a:ext>
            </a:extLst>
          </p:cNvPr>
          <p:cNvSpPr txBox="1"/>
          <p:nvPr/>
        </p:nvSpPr>
        <p:spPr>
          <a:xfrm>
            <a:off x="397562" y="884265"/>
            <a:ext cx="58839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i="1" u="sng" dirty="0">
              <a:hlinkClick r:id="rId3"/>
            </a:endParaRPr>
          </a:p>
          <a:p>
            <a:r>
              <a:rPr lang="en-AU" u="sng" dirty="0">
                <a:hlinkClick r:id="rId3"/>
              </a:rPr>
              <a:t>https://www.mygovid.gov.au/need-help</a:t>
            </a:r>
            <a:endParaRPr lang="en-AU" dirty="0"/>
          </a:p>
          <a:p>
            <a:r>
              <a:rPr lang="en-AU" dirty="0"/>
              <a:t> 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FD4105-1104-457D-811F-B856C13EE86D}"/>
              </a:ext>
            </a:extLst>
          </p:cNvPr>
          <p:cNvSpPr txBox="1">
            <a:spLocks/>
          </p:cNvSpPr>
          <p:nvPr/>
        </p:nvSpPr>
        <p:spPr>
          <a:xfrm>
            <a:off x="341376" y="422600"/>
            <a:ext cx="7670739" cy="461665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Where can I find out mor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AC7791-0C2E-46C5-8FB1-3C8964262D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413" y="1680308"/>
            <a:ext cx="5622194" cy="30453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CD914B9-D5C9-4155-A719-64F376F65575}"/>
              </a:ext>
            </a:extLst>
          </p:cNvPr>
          <p:cNvSpPr/>
          <p:nvPr/>
        </p:nvSpPr>
        <p:spPr>
          <a:xfrm>
            <a:off x="-2370160" y="-634617"/>
            <a:ext cx="31279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u="sng" dirty="0">
                <a:highlight>
                  <a:srgbClr val="FFFF00"/>
                </a:highlight>
                <a:hlinkClick r:id="rId3"/>
              </a:rPr>
              <a:t>Insert DESE URL when available</a:t>
            </a:r>
          </a:p>
        </p:txBody>
      </p:sp>
    </p:spTree>
    <p:extLst>
      <p:ext uri="{BB962C8B-B14F-4D97-AF65-F5344CB8AC3E}">
        <p14:creationId xmlns:p14="http://schemas.microsoft.com/office/powerpoint/2010/main" val="33410629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1E4E7-F0FB-4642-AB4E-08EB86203D6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0100" y="2077243"/>
            <a:ext cx="7886700" cy="993775"/>
          </a:xfrm>
        </p:spPr>
        <p:txBody>
          <a:bodyPr>
            <a:normAutofit/>
          </a:bodyPr>
          <a:lstStyle/>
          <a:p>
            <a:r>
              <a:rPr lang="en-AU" b="1" dirty="0">
                <a:latin typeface="Arial Nova" panose="020B0504020202020204" pitchFamily="34" charset="0"/>
              </a:rPr>
              <a:t>UPDATE</a:t>
            </a:r>
            <a:br>
              <a:rPr lang="en-AU" b="1" dirty="0">
                <a:latin typeface="Arial Nova" panose="020B0504020202020204" pitchFamily="34" charset="0"/>
              </a:rPr>
            </a:br>
            <a:r>
              <a:rPr lang="en-AU" dirty="0">
                <a:latin typeface="Arial Nova" panose="020B0504020202020204" pitchFamily="34" charset="0"/>
              </a:rPr>
              <a:t>Improving Provider Experience</a:t>
            </a:r>
          </a:p>
        </p:txBody>
      </p:sp>
    </p:spTree>
    <p:extLst>
      <p:ext uri="{BB962C8B-B14F-4D97-AF65-F5344CB8AC3E}">
        <p14:creationId xmlns:p14="http://schemas.microsoft.com/office/powerpoint/2010/main" val="3548188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2797C7B-0466-42F1-BCD1-A42E7066C3CF}"/>
              </a:ext>
            </a:extLst>
          </p:cNvPr>
          <p:cNvSpPr/>
          <p:nvPr/>
        </p:nvSpPr>
        <p:spPr>
          <a:xfrm>
            <a:off x="836555" y="463246"/>
            <a:ext cx="3954522" cy="843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000"/>
              </a:lnSpc>
              <a:defRPr/>
            </a:pPr>
            <a:r>
              <a:rPr lang="en-AU" sz="1600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The Department is engaging with </a:t>
            </a:r>
            <a:r>
              <a:rPr lang="en-AU" sz="1600" b="1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over 70 organisations and over 400 people </a:t>
            </a:r>
            <a:r>
              <a:rPr lang="en-AU" sz="1600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who opted in to be part of usability testing. </a:t>
            </a:r>
          </a:p>
        </p:txBody>
      </p:sp>
      <p:pic>
        <p:nvPicPr>
          <p:cNvPr id="11" name="Picture 10" descr="A picture containing text, indoor, computer, electronics&#10;&#10;Description automatically generated">
            <a:extLst>
              <a:ext uri="{FF2B5EF4-FFF2-40B4-BE49-F238E27FC236}">
                <a16:creationId xmlns:a16="http://schemas.microsoft.com/office/drawing/2014/main" id="{EDA164AB-DB24-4B7C-AA9B-45B1247FA4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808"/>
          <a:stretch/>
        </p:blipFill>
        <p:spPr>
          <a:xfrm>
            <a:off x="3797301" y="1647435"/>
            <a:ext cx="5052380" cy="350082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92255" y="-1029706"/>
            <a:ext cx="68100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 Nova" panose="020B0504020202020204" pitchFamily="34" charset="0"/>
              </a:rPr>
              <a:t>Usability Testing</a:t>
            </a:r>
            <a:endParaRPr lang="en-AU" sz="2400" b="1" dirty="0">
              <a:solidFill>
                <a:srgbClr val="E6E6E6"/>
              </a:solidFill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C73CF09-8292-4941-9BCE-425F0782505F}"/>
              </a:ext>
            </a:extLst>
          </p:cNvPr>
          <p:cNvSpPr/>
          <p:nvPr/>
        </p:nvSpPr>
        <p:spPr>
          <a:xfrm>
            <a:off x="701183" y="2314230"/>
            <a:ext cx="2451592" cy="843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defRPr/>
            </a:pPr>
            <a:r>
              <a:rPr lang="en-AU" sz="1600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Functionality will be </a:t>
            </a:r>
            <a:r>
              <a:rPr lang="en-AU" sz="1600" b="1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released incrementally in a Beta state.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14F7D98-1420-43F0-B91B-B0159BA5F0DA}"/>
              </a:ext>
            </a:extLst>
          </p:cNvPr>
          <p:cNvCxnSpPr>
            <a:cxnSpLocks/>
          </p:cNvCxnSpPr>
          <p:nvPr/>
        </p:nvCxnSpPr>
        <p:spPr>
          <a:xfrm flipV="1">
            <a:off x="3454051" y="3599011"/>
            <a:ext cx="452787" cy="1922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2544C47-8AAC-4BB7-8ED1-8661B3B51088}"/>
              </a:ext>
            </a:extLst>
          </p:cNvPr>
          <p:cNvCxnSpPr>
            <a:cxnSpLocks/>
          </p:cNvCxnSpPr>
          <p:nvPr/>
        </p:nvCxnSpPr>
        <p:spPr>
          <a:xfrm>
            <a:off x="3749676" y="1497773"/>
            <a:ext cx="314325" cy="2993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27557C02-A2FD-43FD-8757-03415ADECF7E}"/>
              </a:ext>
            </a:extLst>
          </p:cNvPr>
          <p:cNvSpPr/>
          <p:nvPr/>
        </p:nvSpPr>
        <p:spPr>
          <a:xfrm>
            <a:off x="468840" y="3791300"/>
            <a:ext cx="2884344" cy="843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000"/>
              </a:lnSpc>
              <a:defRPr/>
            </a:pPr>
            <a:r>
              <a:rPr lang="en-AU" sz="1600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​Allowing quick insight into the platform and the functionality </a:t>
            </a:r>
            <a:r>
              <a:rPr lang="en-AU" sz="1600" b="1" dirty="0">
                <a:solidFill>
                  <a:schemeClr val="accent5">
                    <a:lumMod val="75000"/>
                  </a:schemeClr>
                </a:solidFill>
                <a:latin typeface="Arial Nova" panose="020B0504020202020204" pitchFamily="34" charset="0"/>
              </a:rPr>
              <a:t>before July 2022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C7026A-DC77-4F57-9613-01DEE588A32D}"/>
              </a:ext>
            </a:extLst>
          </p:cNvPr>
          <p:cNvCxnSpPr>
            <a:cxnSpLocks/>
          </p:cNvCxnSpPr>
          <p:nvPr/>
        </p:nvCxnSpPr>
        <p:spPr>
          <a:xfrm flipH="1">
            <a:off x="3353184" y="2698053"/>
            <a:ext cx="6092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936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81497" y="398352"/>
            <a:ext cx="5531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Research Goals and Clear Finding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E5C18B-98A1-4711-B814-6983213C798A}"/>
              </a:ext>
            </a:extLst>
          </p:cNvPr>
          <p:cNvSpPr/>
          <p:nvPr/>
        </p:nvSpPr>
        <p:spPr>
          <a:xfrm>
            <a:off x="704013" y="2717006"/>
            <a:ext cx="3619028" cy="1151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1200"/>
              </a:spcAft>
              <a:tabLst>
                <a:tab pos="457200" algn="l"/>
              </a:tabLst>
            </a:pPr>
            <a:r>
              <a:rPr lang="en-US" sz="1400" b="1" dirty="0">
                <a:solidFill>
                  <a:srgbClr val="F2601E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flows in ESS Web </a:t>
            </a:r>
            <a:r>
              <a:rPr lang="en-US" sz="14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 not have a firm structure and are performed by memory.</a:t>
            </a:r>
            <a:endParaRPr lang="en-AU" sz="1400" dirty="0"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1200"/>
              </a:spcAft>
              <a:tabLst>
                <a:tab pos="457200" algn="l"/>
              </a:tabLst>
            </a:pPr>
            <a:r>
              <a:rPr lang="en-US" sz="1400" b="1" dirty="0">
                <a:solidFill>
                  <a:srgbClr val="F2601E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single place </a:t>
            </a:r>
            <a:r>
              <a:rPr lang="en-US" sz="14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view job seeker information in an easily digestible format.</a:t>
            </a:r>
            <a:endParaRPr lang="en-AU" sz="1400" dirty="0"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1E15B5-1408-4408-BD1E-056C326D6BD7}"/>
              </a:ext>
            </a:extLst>
          </p:cNvPr>
          <p:cNvSpPr/>
          <p:nvPr/>
        </p:nvSpPr>
        <p:spPr>
          <a:xfrm>
            <a:off x="4820960" y="2717006"/>
            <a:ext cx="3741543" cy="15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1200"/>
              </a:spcAft>
              <a:tabLst>
                <a:tab pos="457200" algn="l"/>
              </a:tabLst>
            </a:pPr>
            <a:r>
              <a:rPr lang="en-US" sz="1400" b="1" dirty="0">
                <a:solidFill>
                  <a:srgbClr val="00B050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filling fields </a:t>
            </a:r>
            <a:r>
              <a:rPr lang="en-US" sz="14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providing rapid-complete functionality. </a:t>
            </a:r>
            <a:endParaRPr lang="en-AU" sz="1400" dirty="0"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1200"/>
              </a:spcAft>
              <a:tabLst>
                <a:tab pos="457200" algn="l"/>
              </a:tabLst>
            </a:pPr>
            <a:r>
              <a:rPr lang="en-US" sz="1400" b="1" dirty="0">
                <a:solidFill>
                  <a:srgbClr val="00B050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ing an update </a:t>
            </a:r>
            <a:r>
              <a:rPr lang="en-US" sz="14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providing a sense of progress using sections. </a:t>
            </a:r>
            <a:endParaRPr lang="en-AU" sz="1400" dirty="0"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1200"/>
              </a:spcAft>
              <a:tabLst>
                <a:tab pos="457200" algn="l"/>
              </a:tabLst>
            </a:pPr>
            <a:r>
              <a:rPr lang="en-US" sz="1400" b="1" dirty="0">
                <a:solidFill>
                  <a:srgbClr val="00B050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ility to see </a:t>
            </a:r>
            <a:r>
              <a:rPr lang="en-US" sz="1400" dirty="0"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 entire calendar at a glance. </a:t>
            </a:r>
            <a:endParaRPr lang="en-AU" sz="1400" dirty="0">
              <a:latin typeface="Arial Nova" panose="020B05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9D66103-2F8D-4DF6-80F5-42D5DEBA35EF}"/>
              </a:ext>
            </a:extLst>
          </p:cNvPr>
          <p:cNvGrpSpPr/>
          <p:nvPr/>
        </p:nvGrpSpPr>
        <p:grpSpPr>
          <a:xfrm>
            <a:off x="4837034" y="1457432"/>
            <a:ext cx="891278" cy="891278"/>
            <a:chOff x="3788828" y="3504846"/>
            <a:chExt cx="1148470" cy="114847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2FD5B27-414B-4F86-91AE-01C4670EEC4D}"/>
                </a:ext>
              </a:extLst>
            </p:cNvPr>
            <p:cNvSpPr/>
            <p:nvPr/>
          </p:nvSpPr>
          <p:spPr>
            <a:xfrm>
              <a:off x="3788828" y="3504846"/>
              <a:ext cx="1148470" cy="11484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1" name="Graphic 10" descr="Checkmark">
              <a:extLst>
                <a:ext uri="{FF2B5EF4-FFF2-40B4-BE49-F238E27FC236}">
                  <a16:creationId xmlns:a16="http://schemas.microsoft.com/office/drawing/2014/main" id="{1483033D-6573-45C3-B787-224BC5785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85210" y="3727495"/>
              <a:ext cx="755703" cy="755703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D5C20631-1BDD-4795-856B-BC4F84B77626}"/>
              </a:ext>
            </a:extLst>
          </p:cNvPr>
          <p:cNvSpPr/>
          <p:nvPr/>
        </p:nvSpPr>
        <p:spPr>
          <a:xfrm>
            <a:off x="5880716" y="1740070"/>
            <a:ext cx="1391278" cy="3667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rgbClr val="00B050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ted well</a:t>
            </a:r>
            <a:endParaRPr lang="en-AU" dirty="0">
              <a:solidFill>
                <a:srgbClr val="00B050"/>
              </a:solidFill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3C2FE2-05F2-4E3A-BEE2-3A09BEE9189F}"/>
              </a:ext>
            </a:extLst>
          </p:cNvPr>
          <p:cNvSpPr/>
          <p:nvPr/>
        </p:nvSpPr>
        <p:spPr>
          <a:xfrm>
            <a:off x="703260" y="1457432"/>
            <a:ext cx="891278" cy="891278"/>
          </a:xfrm>
          <a:prstGeom prst="ellipse">
            <a:avLst/>
          </a:prstGeom>
          <a:solidFill>
            <a:srgbClr val="F26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5400" b="1" dirty="0">
                <a:latin typeface="Bahnschrift SemiCondensed" panose="020B0502040204020203" pitchFamily="34" charset="0"/>
              </a:rPr>
              <a:t>!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D8075F-B748-4D6D-A879-3F12CDD120C0}"/>
              </a:ext>
            </a:extLst>
          </p:cNvPr>
          <p:cNvSpPr/>
          <p:nvPr/>
        </p:nvSpPr>
        <p:spPr>
          <a:xfrm>
            <a:off x="1746942" y="1727908"/>
            <a:ext cx="1962397" cy="3667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rgbClr val="F2601E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sues identified</a:t>
            </a:r>
            <a:endParaRPr lang="en-AU" dirty="0">
              <a:solidFill>
                <a:srgbClr val="F2601E"/>
              </a:solidFill>
              <a:latin typeface="Arial Nova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8125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1E4E7-F0FB-4642-AB4E-08EB86203D6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0100" y="2077243"/>
            <a:ext cx="7886700" cy="993775"/>
          </a:xfrm>
        </p:spPr>
        <p:txBody>
          <a:bodyPr>
            <a:normAutofit/>
          </a:bodyPr>
          <a:lstStyle/>
          <a:p>
            <a:r>
              <a:rPr lang="en-AU" b="1" dirty="0">
                <a:latin typeface="Arial Nova" panose="020B0504020202020204" pitchFamily="34" charset="0"/>
              </a:rPr>
              <a:t>UPDATE</a:t>
            </a:r>
            <a:br>
              <a:rPr lang="en-AU" b="1" dirty="0">
                <a:latin typeface="Arial Nova" panose="020B0504020202020204" pitchFamily="34" charset="0"/>
              </a:rPr>
            </a:br>
            <a:r>
              <a:rPr lang="en-AU" dirty="0">
                <a:latin typeface="Arial Nova" panose="020B0504020202020204" pitchFamily="34" charset="0"/>
              </a:rPr>
              <a:t>Right Fit for Risk Requirements</a:t>
            </a:r>
          </a:p>
        </p:txBody>
      </p:sp>
    </p:spTree>
    <p:extLst>
      <p:ext uri="{BB962C8B-B14F-4D97-AF65-F5344CB8AC3E}">
        <p14:creationId xmlns:p14="http://schemas.microsoft.com/office/powerpoint/2010/main" val="3667566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05" y="2250014"/>
            <a:ext cx="1918840" cy="724413"/>
          </a:xfrm>
        </p:spPr>
        <p:txBody>
          <a:bodyPr anchor="t">
            <a:normAutofit/>
          </a:bodyPr>
          <a:lstStyle/>
          <a:p>
            <a:r>
              <a:rPr lang="en-US" sz="3600" dirty="0">
                <a:latin typeface="Arial Nova" panose="020B050402020202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2B40825-D971-4D70-ADD5-E551B8113B98}"/>
              </a:ext>
            </a:extLst>
          </p:cNvPr>
          <p:cNvSpPr txBox="1"/>
          <p:nvPr/>
        </p:nvSpPr>
        <p:spPr>
          <a:xfrm>
            <a:off x="3562206" y="1090947"/>
            <a:ext cx="3704836" cy="13234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rgbClr val="000000"/>
                </a:solidFill>
                <a:latin typeface="Arial Nova" panose="020B0504020202020204" pitchFamily="34" charset="0"/>
              </a:defRPr>
            </a:lvl1pPr>
          </a:lstStyle>
          <a:p>
            <a:pPr>
              <a:defRPr/>
            </a:pPr>
            <a:r>
              <a:rPr lang="en-AU" dirty="0"/>
              <a:t>Rollout of </a:t>
            </a:r>
            <a:r>
              <a:rPr lang="en-AU" dirty="0" err="1"/>
              <a:t>myGovID</a:t>
            </a:r>
            <a:endParaRPr lang="en-AU" dirty="0"/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AU" b="0" dirty="0">
                <a:solidFill>
                  <a:srgbClr val="000000"/>
                </a:solidFill>
                <a:latin typeface="Arial Nova" panose="020B0504020202020204" pitchFamily="34" charset="0"/>
              </a:rPr>
              <a:t>What’s changing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AU" b="0" dirty="0">
                <a:solidFill>
                  <a:srgbClr val="000000"/>
                </a:solidFill>
                <a:latin typeface="Arial Nova" panose="020B0504020202020204" pitchFamily="34" charset="0"/>
              </a:rPr>
              <a:t>Timeframe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AU" b="0" dirty="0">
                <a:solidFill>
                  <a:srgbClr val="000000"/>
                </a:solidFill>
                <a:latin typeface="Arial Nova" panose="020B0504020202020204" pitchFamily="34" charset="0"/>
              </a:rPr>
              <a:t>Setup and support</a:t>
            </a:r>
          </a:p>
          <a:p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78B1BC-4080-4051-A6D4-0EFE707BF9E4}"/>
              </a:ext>
            </a:extLst>
          </p:cNvPr>
          <p:cNvSpPr txBox="1"/>
          <p:nvPr/>
        </p:nvSpPr>
        <p:spPr>
          <a:xfrm>
            <a:off x="8375904" y="4808332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D7F2DE-7A09-44C2-A5E2-D4229ECF83A7}"/>
              </a:ext>
            </a:extLst>
          </p:cNvPr>
          <p:cNvSpPr txBox="1"/>
          <p:nvPr/>
        </p:nvSpPr>
        <p:spPr>
          <a:xfrm>
            <a:off x="3562205" y="2689012"/>
            <a:ext cx="4350871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b="1" dirty="0">
                <a:solidFill>
                  <a:srgbClr val="000000"/>
                </a:solidFill>
                <a:latin typeface="Arial Nova" panose="020B0504020202020204" pitchFamily="34" charset="0"/>
              </a:rPr>
              <a:t>U</a:t>
            </a:r>
            <a:r>
              <a:rPr kumimoji="0" lang="en-A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pdate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 on improving provider experienc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2C7DA3-7131-4A53-9A8C-261587189C14}"/>
              </a:ext>
            </a:extLst>
          </p:cNvPr>
          <p:cNvSpPr txBox="1"/>
          <p:nvPr/>
        </p:nvSpPr>
        <p:spPr>
          <a:xfrm>
            <a:off x="3562206" y="3484484"/>
            <a:ext cx="3704836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Update on Right Fit for Risk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772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B4B83D7-0E50-4E51-B771-4845AC7CA666}"/>
              </a:ext>
            </a:extLst>
          </p:cNvPr>
          <p:cNvSpPr txBox="1"/>
          <p:nvPr/>
        </p:nvSpPr>
        <p:spPr>
          <a:xfrm>
            <a:off x="585552" y="1912410"/>
            <a:ext cx="276177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latin typeface="Arial Nova" panose="020B0504020202020204" pitchFamily="34" charset="0"/>
              </a:rPr>
              <a:t>As at 15 October, </a:t>
            </a:r>
            <a:r>
              <a:rPr lang="en-AU" sz="1600" b="1" dirty="0">
                <a:latin typeface="Arial Nova" panose="020B0504020202020204" pitchFamily="34" charset="0"/>
              </a:rPr>
              <a:t>32 Medium and Large Providers have completed </a:t>
            </a:r>
            <a:r>
              <a:rPr lang="en-AU" sz="1600" dirty="0">
                <a:latin typeface="Arial Nova" panose="020B0504020202020204" pitchFamily="34" charset="0"/>
              </a:rPr>
              <a:t>the RFFR Accreditation process, and </a:t>
            </a:r>
            <a:r>
              <a:rPr lang="en-AU" sz="1600" b="1" dirty="0">
                <a:latin typeface="Arial Nova" panose="020B0504020202020204" pitchFamily="34" charset="0"/>
              </a:rPr>
              <a:t>24 are currently being assessed</a:t>
            </a:r>
            <a:r>
              <a:rPr lang="en-AU" sz="1400" b="1" dirty="0">
                <a:latin typeface="Arial Nova" panose="020B0504020202020204" pitchFamily="34" charset="0"/>
              </a:rPr>
              <a:t>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DF1E12-8464-4453-9BFF-4DA3315BEA6D}"/>
              </a:ext>
            </a:extLst>
          </p:cNvPr>
          <p:cNvSpPr/>
          <p:nvPr/>
        </p:nvSpPr>
        <p:spPr>
          <a:xfrm>
            <a:off x="4005470" y="4168974"/>
            <a:ext cx="31208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AU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Note: </a:t>
            </a:r>
          </a:p>
          <a:p>
            <a:pPr lvl="0"/>
            <a:r>
              <a:rPr lang="en-AU" sz="9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Data </a:t>
            </a:r>
            <a:r>
              <a:rPr lang="en-AU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includes</a:t>
            </a:r>
            <a:r>
              <a:rPr lang="en-AU" sz="9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providers delivering DESE employment services . </a:t>
            </a:r>
            <a:endParaRPr lang="en-AU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/>
            <a:r>
              <a:rPr lang="en-AU" sz="9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Data </a:t>
            </a:r>
            <a:r>
              <a:rPr lang="en-AU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excludes</a:t>
            </a:r>
            <a:r>
              <a:rPr lang="en-AU" sz="9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providers delivering DSS only services. </a:t>
            </a:r>
            <a:endParaRPr lang="en-AU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/>
            <a:r>
              <a:rPr lang="en-AU" sz="9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Data </a:t>
            </a:r>
            <a:r>
              <a:rPr lang="en-AU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excludes</a:t>
            </a:r>
            <a:r>
              <a:rPr lang="en-AU" sz="9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providers delivering Skills Program only services.</a:t>
            </a:r>
            <a:r>
              <a:rPr lang="en-AU" sz="900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en-AU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91CAD0-0E17-4A53-9D45-4D031F1EC4C4}"/>
              </a:ext>
            </a:extLst>
          </p:cNvPr>
          <p:cNvSpPr txBox="1"/>
          <p:nvPr/>
        </p:nvSpPr>
        <p:spPr>
          <a:xfrm>
            <a:off x="581497" y="398352"/>
            <a:ext cx="5531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Update on RFFR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872C491-52D6-4E3E-A0C7-99D0928A48BA}"/>
              </a:ext>
            </a:extLst>
          </p:cNvPr>
          <p:cNvGraphicFramePr>
            <a:graphicFrameLocks/>
          </p:cNvGraphicFramePr>
          <p:nvPr/>
        </p:nvGraphicFramePr>
        <p:xfrm>
          <a:off x="3649649" y="1237036"/>
          <a:ext cx="4797223" cy="2931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378191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6C9F27B-D759-4614-A895-1AE9643E192E}"/>
              </a:ext>
            </a:extLst>
          </p:cNvPr>
          <p:cNvSpPr/>
          <p:nvPr/>
        </p:nvSpPr>
        <p:spPr>
          <a:xfrm>
            <a:off x="4238623" y="1718250"/>
            <a:ext cx="4152902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um/Large Providers </a:t>
            </a:r>
            <a:r>
              <a:rPr lang="en-AU" sz="1400" b="1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o met the due date</a:t>
            </a: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30 September 2021 to submit their RFFR documentation are being prioritised for review.</a:t>
            </a:r>
            <a:b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AU" sz="1400" strike="sngStrike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AU" sz="1400" strike="sngStrike" dirty="0">
              <a:latin typeface="Arial Nova" panose="020B05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AU" sz="1400" dirty="0">
              <a:latin typeface="Arial Nova" panose="020B05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rs </a:t>
            </a:r>
            <a:r>
              <a:rPr lang="en-AU" sz="1400" b="1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o did not submit </a:t>
            </a: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FFR documentation for review by the due date and did not advise the department of a valid reason for being overdue may be in breach of the De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6D35B0-EBFB-40EB-9D1A-611715E1D9A8}"/>
              </a:ext>
            </a:extLst>
          </p:cNvPr>
          <p:cNvSpPr txBox="1"/>
          <p:nvPr/>
        </p:nvSpPr>
        <p:spPr>
          <a:xfrm>
            <a:off x="581497" y="398352"/>
            <a:ext cx="74099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AU" sz="2400" dirty="0">
                <a:solidFill>
                  <a:srgbClr val="002D3F"/>
                </a:solidFill>
                <a:latin typeface="Arial Nova" panose="020B0504020202020204" pitchFamily="34" charset="0"/>
              </a:rPr>
              <a:t>What happens when </a:t>
            </a:r>
            <a:br>
              <a:rPr lang="en-AU" sz="2400" dirty="0">
                <a:solidFill>
                  <a:srgbClr val="002D3F"/>
                </a:solidFill>
                <a:latin typeface="Arial Nova" panose="020B0504020202020204" pitchFamily="34" charset="0"/>
              </a:rPr>
            </a:b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Providers </a:t>
            </a:r>
            <a:r>
              <a:rPr lang="en-AU" sz="2400" b="1" dirty="0">
                <a:latin typeface="Arial Nova" panose="020B0504020202020204" pitchFamily="34" charset="0"/>
              </a:rPr>
              <a:t>do not </a:t>
            </a: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gain accreditation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46B6F12-DF93-4185-80F7-862124985204}"/>
              </a:ext>
            </a:extLst>
          </p:cNvPr>
          <p:cNvSpPr/>
          <p:nvPr/>
        </p:nvSpPr>
        <p:spPr>
          <a:xfrm>
            <a:off x="581497" y="1718250"/>
            <a:ext cx="20569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b="1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Medium and Large Providers </a:t>
            </a: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servicing 2,000 or more participants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CA3C351-5168-4362-87F7-8AB8E146C3F1}"/>
              </a:ext>
            </a:extLst>
          </p:cNvPr>
          <p:cNvGrpSpPr/>
          <p:nvPr/>
        </p:nvGrpSpPr>
        <p:grpSpPr>
          <a:xfrm>
            <a:off x="3071865" y="1660453"/>
            <a:ext cx="1061985" cy="1061985"/>
            <a:chOff x="3788828" y="3504846"/>
            <a:chExt cx="1148470" cy="114847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34BF4DE-572C-46FE-93A8-739AEC737D09}"/>
                </a:ext>
              </a:extLst>
            </p:cNvPr>
            <p:cNvSpPr/>
            <p:nvPr/>
          </p:nvSpPr>
          <p:spPr>
            <a:xfrm>
              <a:off x="3788828" y="3504846"/>
              <a:ext cx="1148470" cy="11484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0" name="Graphic 9" descr="Checkmark">
              <a:extLst>
                <a:ext uri="{FF2B5EF4-FFF2-40B4-BE49-F238E27FC236}">
                  <a16:creationId xmlns:a16="http://schemas.microsoft.com/office/drawing/2014/main" id="{5C053FFB-9340-41CD-8155-751E08EA7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85210" y="3727495"/>
              <a:ext cx="755703" cy="755703"/>
            </a:xfrm>
            <a:prstGeom prst="rect">
              <a:avLst/>
            </a:prstGeom>
          </p:spPr>
        </p:pic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A3010707-B23D-424D-83A1-3110D2737D11}"/>
              </a:ext>
            </a:extLst>
          </p:cNvPr>
          <p:cNvSpPr/>
          <p:nvPr/>
        </p:nvSpPr>
        <p:spPr>
          <a:xfrm>
            <a:off x="3071865" y="3426254"/>
            <a:ext cx="1061985" cy="1061985"/>
          </a:xfrm>
          <a:prstGeom prst="ellipse">
            <a:avLst/>
          </a:prstGeom>
          <a:solidFill>
            <a:srgbClr val="F26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0" b="1" dirty="0">
                <a:latin typeface="Bahnschrift SemiCondensed" panose="020B0502040204020203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4661909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CDD46774-6D18-4DC6-961E-AC313304F8EB}"/>
              </a:ext>
            </a:extLst>
          </p:cNvPr>
          <p:cNvGrpSpPr/>
          <p:nvPr/>
        </p:nvGrpSpPr>
        <p:grpSpPr>
          <a:xfrm>
            <a:off x="7555754" y="3527522"/>
            <a:ext cx="1588246" cy="1620741"/>
            <a:chOff x="6016376" y="2492989"/>
            <a:chExt cx="2602037" cy="265527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CFE94FE-8108-4504-B709-A3C80B862C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084" t="11588" b="29655"/>
            <a:stretch/>
          </p:blipFill>
          <p:spPr>
            <a:xfrm flipH="1">
              <a:off x="6016376" y="2492989"/>
              <a:ext cx="2602037" cy="2655274"/>
            </a:xfrm>
            <a:prstGeom prst="rect">
              <a:avLst/>
            </a:prstGeom>
          </p:spPr>
        </p:pic>
        <p:pic>
          <p:nvPicPr>
            <p:cNvPr id="19" name="Graphic 18" descr="Envelope">
              <a:extLst>
                <a:ext uri="{FF2B5EF4-FFF2-40B4-BE49-F238E27FC236}">
                  <a16:creationId xmlns:a16="http://schemas.microsoft.com/office/drawing/2014/main" id="{63439B7D-4DF1-428C-89E8-BB7DF54C8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1449484">
              <a:off x="7132512" y="3255481"/>
              <a:ext cx="685800" cy="685800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E874AA4-13B9-40DB-845C-ED8366026FC6}"/>
              </a:ext>
            </a:extLst>
          </p:cNvPr>
          <p:cNvSpPr txBox="1"/>
          <p:nvPr/>
        </p:nvSpPr>
        <p:spPr>
          <a:xfrm>
            <a:off x="581497" y="398352"/>
            <a:ext cx="74099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AU" sz="2400" dirty="0">
                <a:solidFill>
                  <a:srgbClr val="002D3F"/>
                </a:solidFill>
                <a:latin typeface="Arial Nova" panose="020B0504020202020204" pitchFamily="34" charset="0"/>
              </a:rPr>
              <a:t>Who do we go to </a:t>
            </a:r>
            <a:b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</a:b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if we’re having problems gaining accreditation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2CA06FF-7008-4224-BB01-604628D2E813}"/>
              </a:ext>
            </a:extLst>
          </p:cNvPr>
          <p:cNvSpPr/>
          <p:nvPr/>
        </p:nvSpPr>
        <p:spPr>
          <a:xfrm>
            <a:off x="2038350" y="4240845"/>
            <a:ext cx="5683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1200"/>
              </a:spcAft>
            </a:pPr>
            <a:r>
              <a:rPr lang="en-AU" sz="12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ail </a:t>
            </a:r>
            <a:r>
              <a:rPr lang="en-AU" sz="1200" u="sng" dirty="0">
                <a:solidFill>
                  <a:srgbClr val="287CB2"/>
                </a:solidFill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SecurityComplianceSupport@dese.gov.au</a:t>
            </a:r>
            <a:r>
              <a:rPr lang="en-AU" sz="12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lang="en-AU" sz="12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f you are experiencing significant challenges preparing your RFFR submission. </a:t>
            </a:r>
            <a:endParaRPr lang="en-AU" sz="1200" dirty="0">
              <a:highlight>
                <a:srgbClr val="FFFF00"/>
              </a:highligh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A32FC2-DCE9-41C0-B283-FD73AE342DFE}"/>
              </a:ext>
            </a:extLst>
          </p:cNvPr>
          <p:cNvSpPr/>
          <p:nvPr/>
        </p:nvSpPr>
        <p:spPr>
          <a:xfrm>
            <a:off x="581497" y="2182113"/>
            <a:ext cx="212360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b="1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Small Providers </a:t>
            </a:r>
            <a:br>
              <a:rPr lang="en-AU" sz="1400" b="1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servicing less than 2,000 participants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29855A-627E-4F65-BC74-CD10213610C6}"/>
              </a:ext>
            </a:extLst>
          </p:cNvPr>
          <p:cNvSpPr/>
          <p:nvPr/>
        </p:nvSpPr>
        <p:spPr>
          <a:xfrm>
            <a:off x="4647728" y="2279161"/>
            <a:ext cx="38199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all Providers are required to </a:t>
            </a:r>
            <a:r>
              <a:rPr lang="en-AU" sz="1400" b="1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in RFFR accreditation by 31 December 2021</a:t>
            </a:r>
            <a:r>
              <a:rPr lang="en-AU" sz="14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4017A8C-3764-47EB-8360-C66E9B8000EB}"/>
              </a:ext>
            </a:extLst>
          </p:cNvPr>
          <p:cNvGrpSpPr/>
          <p:nvPr/>
        </p:nvGrpSpPr>
        <p:grpSpPr>
          <a:xfrm>
            <a:off x="3347618" y="1966652"/>
            <a:ext cx="1224381" cy="1224381"/>
            <a:chOff x="3347618" y="1966652"/>
            <a:chExt cx="1224381" cy="122438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EAD2F56-973C-4AD2-8247-2B681C41F854}"/>
                </a:ext>
              </a:extLst>
            </p:cNvPr>
            <p:cNvGrpSpPr/>
            <p:nvPr/>
          </p:nvGrpSpPr>
          <p:grpSpPr>
            <a:xfrm>
              <a:off x="3347618" y="1966652"/>
              <a:ext cx="1224381" cy="1224381"/>
              <a:chOff x="3788828" y="3504846"/>
              <a:chExt cx="1148470" cy="114847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588ADA3E-2B7A-4A12-9EAE-4CBF01C909B3}"/>
                  </a:ext>
                </a:extLst>
              </p:cNvPr>
              <p:cNvSpPr/>
              <p:nvPr/>
            </p:nvSpPr>
            <p:spPr>
              <a:xfrm>
                <a:off x="3788828" y="3504846"/>
                <a:ext cx="1148470" cy="1148470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/>
              </a:p>
            </p:txBody>
          </p:sp>
          <p:pic>
            <p:nvPicPr>
              <p:cNvPr id="16" name="Graphic 15" descr="Flip calendar">
                <a:extLst>
                  <a:ext uri="{FF2B5EF4-FFF2-40B4-BE49-F238E27FC236}">
                    <a16:creationId xmlns:a16="http://schemas.microsoft.com/office/drawing/2014/main" id="{9D685B1F-DBF8-492A-9E3A-9F835979E8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3985209" y="3727496"/>
                <a:ext cx="755703" cy="755703"/>
              </a:xfrm>
              <a:prstGeom prst="rect">
                <a:avLst/>
              </a:prstGeom>
            </p:spPr>
          </p:pic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C0650BA-6E4E-44F6-B77F-086548814A25}"/>
                </a:ext>
              </a:extLst>
            </p:cNvPr>
            <p:cNvSpPr txBox="1"/>
            <p:nvPr/>
          </p:nvSpPr>
          <p:spPr>
            <a:xfrm>
              <a:off x="3781425" y="2555081"/>
              <a:ext cx="4000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b="1" dirty="0">
                  <a:solidFill>
                    <a:schemeClr val="bg1"/>
                  </a:solidFill>
                </a:rPr>
                <a:t>3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27909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96683BF5-1797-4777-B82C-8BF7C7881487}"/>
              </a:ext>
            </a:extLst>
          </p:cNvPr>
          <p:cNvGrpSpPr/>
          <p:nvPr/>
        </p:nvGrpSpPr>
        <p:grpSpPr>
          <a:xfrm>
            <a:off x="7555754" y="3527522"/>
            <a:ext cx="1588246" cy="1620741"/>
            <a:chOff x="6016376" y="2492989"/>
            <a:chExt cx="2602037" cy="265527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AA1D33A-22C7-4F1D-A47C-2F7630E4E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084" t="11588" b="29655"/>
            <a:stretch/>
          </p:blipFill>
          <p:spPr>
            <a:xfrm flipH="1">
              <a:off x="6016376" y="2492989"/>
              <a:ext cx="2602037" cy="2655274"/>
            </a:xfrm>
            <a:prstGeom prst="rect">
              <a:avLst/>
            </a:prstGeom>
          </p:spPr>
        </p:pic>
        <p:pic>
          <p:nvPicPr>
            <p:cNvPr id="11" name="Graphic 10" descr="Document">
              <a:extLst>
                <a:ext uri="{FF2B5EF4-FFF2-40B4-BE49-F238E27FC236}">
                  <a16:creationId xmlns:a16="http://schemas.microsoft.com/office/drawing/2014/main" id="{F91309C9-0D6F-4BEB-80DA-360FB0874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 rot="21449484">
              <a:off x="7132511" y="3255481"/>
              <a:ext cx="685799" cy="685799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6367497E-4CEB-468A-A6AE-29F03B1F4D37}"/>
              </a:ext>
            </a:extLst>
          </p:cNvPr>
          <p:cNvSpPr/>
          <p:nvPr/>
        </p:nvSpPr>
        <p:spPr>
          <a:xfrm>
            <a:off x="1686870" y="2149964"/>
            <a:ext cx="270462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b="1" i="1" dirty="0">
                <a:latin typeface="Arial Nova" panose="020B0504020202020204" pitchFamily="34" charset="0"/>
              </a:rPr>
              <a:t>Current</a:t>
            </a:r>
            <a:r>
              <a:rPr lang="en-AU" sz="1400" b="1" dirty="0">
                <a:latin typeface="Arial Nova" panose="020B0504020202020204" pitchFamily="34" charset="0"/>
              </a:rPr>
              <a:t> Providers </a:t>
            </a:r>
            <a:r>
              <a:rPr lang="en-AU" sz="1400" dirty="0">
                <a:latin typeface="Arial Nova" panose="020B0504020202020204" pitchFamily="34" charset="0"/>
              </a:rPr>
              <a:t>must gain RFFR Accreditation under </a:t>
            </a:r>
            <a:r>
              <a:rPr lang="en-AU" sz="1400" b="1" i="1" dirty="0">
                <a:latin typeface="Arial Nova" panose="020B0504020202020204" pitchFamily="34" charset="0"/>
              </a:rPr>
              <a:t>current </a:t>
            </a:r>
            <a:r>
              <a:rPr lang="en-AU" sz="1400" b="1" dirty="0">
                <a:latin typeface="Arial Nova" panose="020B0504020202020204" pitchFamily="34" charset="0"/>
              </a:rPr>
              <a:t>contracts</a:t>
            </a:r>
            <a:r>
              <a:rPr lang="en-AU" sz="1400" dirty="0">
                <a:latin typeface="Arial Nova" panose="020B0504020202020204" pitchFamily="34" charset="0"/>
              </a:rPr>
              <a:t>.</a:t>
            </a:r>
          </a:p>
          <a:p>
            <a:endParaRPr lang="en-AU" sz="1400" dirty="0">
              <a:latin typeface="Arial Nova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CB3BA2-5FFF-4BDC-80FB-F7E451BF442B}"/>
              </a:ext>
            </a:extLst>
          </p:cNvPr>
          <p:cNvSpPr txBox="1"/>
          <p:nvPr/>
        </p:nvSpPr>
        <p:spPr>
          <a:xfrm>
            <a:off x="581497" y="398352"/>
            <a:ext cx="56478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Are the same standards being sought for the new Tenders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D1917E-A9C6-4E55-894D-035C699729A1}"/>
              </a:ext>
            </a:extLst>
          </p:cNvPr>
          <p:cNvSpPr/>
          <p:nvPr/>
        </p:nvSpPr>
        <p:spPr>
          <a:xfrm>
            <a:off x="2413263" y="4014726"/>
            <a:ext cx="53353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AU" sz="1200" b="1" dirty="0">
                <a:latin typeface="Arial Nova" panose="020B0504020202020204" pitchFamily="34" charset="0"/>
              </a:rPr>
              <a:t>Each future approach to market will have its own assessment criteria. </a:t>
            </a:r>
            <a:r>
              <a:rPr lang="en-AU" sz="1200" dirty="0">
                <a:latin typeface="Arial Nova" panose="020B0504020202020204" pitchFamily="34" charset="0"/>
              </a:rPr>
              <a:t>Please refer to the relevant approach to market documents for information about the requirements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E55F26-8D26-4289-8AF1-B98F332347DD}"/>
              </a:ext>
            </a:extLst>
          </p:cNvPr>
          <p:cNvSpPr/>
          <p:nvPr/>
        </p:nvSpPr>
        <p:spPr>
          <a:xfrm>
            <a:off x="5788512" y="2078031"/>
            <a:ext cx="27717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dirty="0">
                <a:latin typeface="Arial Nova" panose="020B0504020202020204" pitchFamily="34" charset="0"/>
              </a:rPr>
              <a:t>Capacity to meet Accreditation requirements is one of the factors considered in assessment for TTW and NESM.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8824DA5-7569-44AA-B770-EF24E1CAB240}"/>
              </a:ext>
            </a:extLst>
          </p:cNvPr>
          <p:cNvSpPr/>
          <p:nvPr/>
        </p:nvSpPr>
        <p:spPr>
          <a:xfrm>
            <a:off x="581497" y="2016058"/>
            <a:ext cx="1009650" cy="1009650"/>
          </a:xfrm>
          <a:prstGeom prst="ellipse">
            <a:avLst/>
          </a:prstGeom>
          <a:solidFill>
            <a:srgbClr val="F26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5400" b="1" dirty="0">
                <a:latin typeface="Bahnschrift SemiCondensed" panose="020B0502040204020203" pitchFamily="34" charset="0"/>
              </a:rPr>
              <a:t>!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8D45684-B968-45E3-A47F-5ED3360A27D7}"/>
              </a:ext>
            </a:extLst>
          </p:cNvPr>
          <p:cNvSpPr/>
          <p:nvPr/>
        </p:nvSpPr>
        <p:spPr>
          <a:xfrm>
            <a:off x="4706295" y="2050260"/>
            <a:ext cx="1009650" cy="100965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5400" b="1" dirty="0" err="1">
                <a:latin typeface="Avenir Next LT Pro" panose="020B0504020202020204" pitchFamily="34" charset="0"/>
              </a:rPr>
              <a:t>i</a:t>
            </a:r>
            <a:endParaRPr lang="en-AU" sz="5400" b="1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1285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D01A8255-730F-45A0-9724-DAFCC6F8684C}"/>
              </a:ext>
            </a:extLst>
          </p:cNvPr>
          <p:cNvSpPr txBox="1"/>
          <p:nvPr/>
        </p:nvSpPr>
        <p:spPr>
          <a:xfrm>
            <a:off x="2111889" y="2347231"/>
            <a:ext cx="1502736" cy="46140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99" b="1">
                <a:solidFill>
                  <a:schemeClr val="bg1"/>
                </a:solidFill>
                <a:cs typeface="Segoe UI" panose="020B0502040204020203" pitchFamily="34" charset="0"/>
              </a:rPr>
              <a:t>Alternative Assura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9F339E-C335-48E2-8861-C1008AD82B0B}"/>
              </a:ext>
            </a:extLst>
          </p:cNvPr>
          <p:cNvGrpSpPr/>
          <p:nvPr/>
        </p:nvGrpSpPr>
        <p:grpSpPr>
          <a:xfrm>
            <a:off x="894902" y="1739248"/>
            <a:ext cx="7096493" cy="3010663"/>
            <a:chOff x="3681912" y="1929891"/>
            <a:chExt cx="5143687" cy="2803019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6249F5B-249B-4C46-8BA7-36B20795E59B}"/>
                </a:ext>
              </a:extLst>
            </p:cNvPr>
            <p:cNvSpPr/>
            <p:nvPr/>
          </p:nvSpPr>
          <p:spPr>
            <a:xfrm>
              <a:off x="6995871" y="1933640"/>
              <a:ext cx="1829728" cy="2799270"/>
            </a:xfrm>
            <a:custGeom>
              <a:avLst/>
              <a:gdLst>
                <a:gd name="connsiteX0" fmla="*/ 0 w 2441896"/>
                <a:gd name="connsiteY0" fmla="*/ 0 h 1952402"/>
                <a:gd name="connsiteX1" fmla="*/ 2217364 w 2441896"/>
                <a:gd name="connsiteY1" fmla="*/ 0 h 1952402"/>
                <a:gd name="connsiteX2" fmla="*/ 2217364 w 2441896"/>
                <a:gd name="connsiteY2" fmla="*/ 607 h 1952402"/>
                <a:gd name="connsiteX3" fmla="*/ 2441896 w 2441896"/>
                <a:gd name="connsiteY3" fmla="*/ 407340 h 1952402"/>
                <a:gd name="connsiteX4" fmla="*/ 2217364 w 2441896"/>
                <a:gd name="connsiteY4" fmla="*/ 814073 h 1952402"/>
                <a:gd name="connsiteX5" fmla="*/ 2217364 w 2441896"/>
                <a:gd name="connsiteY5" fmla="*/ 1472883 h 1952402"/>
                <a:gd name="connsiteX6" fmla="*/ 2217364 w 2441896"/>
                <a:gd name="connsiteY6" fmla="*/ 1699522 h 1952402"/>
                <a:gd name="connsiteX7" fmla="*/ 2217364 w 2441896"/>
                <a:gd name="connsiteY7" fmla="*/ 1952402 h 1952402"/>
                <a:gd name="connsiteX8" fmla="*/ 0 w 2441896"/>
                <a:gd name="connsiteY8" fmla="*/ 1952402 h 1952402"/>
                <a:gd name="connsiteX9" fmla="*/ 0 w 2441896"/>
                <a:gd name="connsiteY9" fmla="*/ 1699522 h 1952402"/>
                <a:gd name="connsiteX10" fmla="*/ 0 w 2441896"/>
                <a:gd name="connsiteY10" fmla="*/ 1472883 h 195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41896" h="1952402">
                  <a:moveTo>
                    <a:pt x="0" y="0"/>
                  </a:moveTo>
                  <a:lnTo>
                    <a:pt x="2217364" y="0"/>
                  </a:lnTo>
                  <a:lnTo>
                    <a:pt x="2217364" y="607"/>
                  </a:lnTo>
                  <a:lnTo>
                    <a:pt x="2441896" y="407340"/>
                  </a:lnTo>
                  <a:lnTo>
                    <a:pt x="2217364" y="814073"/>
                  </a:lnTo>
                  <a:lnTo>
                    <a:pt x="2217364" y="1472883"/>
                  </a:lnTo>
                  <a:lnTo>
                    <a:pt x="2217364" y="1699522"/>
                  </a:lnTo>
                  <a:lnTo>
                    <a:pt x="2217364" y="1952402"/>
                  </a:lnTo>
                  <a:lnTo>
                    <a:pt x="0" y="1952402"/>
                  </a:lnTo>
                  <a:lnTo>
                    <a:pt x="0" y="1699522"/>
                  </a:lnTo>
                  <a:lnTo>
                    <a:pt x="0" y="1472883"/>
                  </a:lnTo>
                  <a:close/>
                </a:path>
              </a:pathLst>
            </a:custGeom>
            <a:solidFill>
              <a:srgbClr val="287CB2"/>
            </a:solidFill>
            <a:ln>
              <a:noFill/>
            </a:ln>
            <a:effectLst>
              <a:outerShdw blurRad="317500" dist="38100" algn="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18E7E40-A75E-454C-9705-6693CCD039D5}"/>
                </a:ext>
              </a:extLst>
            </p:cNvPr>
            <p:cNvSpPr/>
            <p:nvPr/>
          </p:nvSpPr>
          <p:spPr>
            <a:xfrm>
              <a:off x="5348474" y="1931766"/>
              <a:ext cx="1829728" cy="2799269"/>
            </a:xfrm>
            <a:custGeom>
              <a:avLst/>
              <a:gdLst>
                <a:gd name="connsiteX0" fmla="*/ 0 w 2441896"/>
                <a:gd name="connsiteY0" fmla="*/ 0 h 1952402"/>
                <a:gd name="connsiteX1" fmla="*/ 2217364 w 2441896"/>
                <a:gd name="connsiteY1" fmla="*/ 0 h 1952402"/>
                <a:gd name="connsiteX2" fmla="*/ 2217364 w 2441896"/>
                <a:gd name="connsiteY2" fmla="*/ 607 h 1952402"/>
                <a:gd name="connsiteX3" fmla="*/ 2441896 w 2441896"/>
                <a:gd name="connsiteY3" fmla="*/ 407340 h 1952402"/>
                <a:gd name="connsiteX4" fmla="*/ 2217364 w 2441896"/>
                <a:gd name="connsiteY4" fmla="*/ 814073 h 1952402"/>
                <a:gd name="connsiteX5" fmla="*/ 2217364 w 2441896"/>
                <a:gd name="connsiteY5" fmla="*/ 1472883 h 1952402"/>
                <a:gd name="connsiteX6" fmla="*/ 2217364 w 2441896"/>
                <a:gd name="connsiteY6" fmla="*/ 1699522 h 1952402"/>
                <a:gd name="connsiteX7" fmla="*/ 2217364 w 2441896"/>
                <a:gd name="connsiteY7" fmla="*/ 1952402 h 1952402"/>
                <a:gd name="connsiteX8" fmla="*/ 0 w 2441896"/>
                <a:gd name="connsiteY8" fmla="*/ 1952402 h 1952402"/>
                <a:gd name="connsiteX9" fmla="*/ 0 w 2441896"/>
                <a:gd name="connsiteY9" fmla="*/ 1699522 h 1952402"/>
                <a:gd name="connsiteX10" fmla="*/ 0 w 2441896"/>
                <a:gd name="connsiteY10" fmla="*/ 1472883 h 195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41896" h="1952402">
                  <a:moveTo>
                    <a:pt x="0" y="0"/>
                  </a:moveTo>
                  <a:lnTo>
                    <a:pt x="2217364" y="0"/>
                  </a:lnTo>
                  <a:lnTo>
                    <a:pt x="2217364" y="607"/>
                  </a:lnTo>
                  <a:lnTo>
                    <a:pt x="2441896" y="407340"/>
                  </a:lnTo>
                  <a:lnTo>
                    <a:pt x="2217364" y="814073"/>
                  </a:lnTo>
                  <a:lnTo>
                    <a:pt x="2217364" y="1472883"/>
                  </a:lnTo>
                  <a:lnTo>
                    <a:pt x="2217364" y="1699522"/>
                  </a:lnTo>
                  <a:lnTo>
                    <a:pt x="2217364" y="1952402"/>
                  </a:lnTo>
                  <a:lnTo>
                    <a:pt x="0" y="1952402"/>
                  </a:lnTo>
                  <a:lnTo>
                    <a:pt x="0" y="1699522"/>
                  </a:lnTo>
                  <a:lnTo>
                    <a:pt x="0" y="1472883"/>
                  </a:lnTo>
                  <a:close/>
                </a:path>
              </a:pathLst>
            </a:custGeom>
            <a:solidFill>
              <a:srgbClr val="6EC6AA"/>
            </a:solidFill>
            <a:ln>
              <a:noFill/>
            </a:ln>
            <a:effectLst>
              <a:outerShdw blurRad="317500" dist="38100" algn="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E92D924-6C75-4701-93BD-937CBE1222D3}"/>
                </a:ext>
              </a:extLst>
            </p:cNvPr>
            <p:cNvSpPr/>
            <p:nvPr/>
          </p:nvSpPr>
          <p:spPr>
            <a:xfrm>
              <a:off x="3681912" y="1929891"/>
              <a:ext cx="1829728" cy="2799270"/>
            </a:xfrm>
            <a:custGeom>
              <a:avLst/>
              <a:gdLst>
                <a:gd name="connsiteX0" fmla="*/ 0 w 2441896"/>
                <a:gd name="connsiteY0" fmla="*/ 0 h 1952402"/>
                <a:gd name="connsiteX1" fmla="*/ 2217364 w 2441896"/>
                <a:gd name="connsiteY1" fmla="*/ 0 h 1952402"/>
                <a:gd name="connsiteX2" fmla="*/ 2217364 w 2441896"/>
                <a:gd name="connsiteY2" fmla="*/ 607 h 1952402"/>
                <a:gd name="connsiteX3" fmla="*/ 2441896 w 2441896"/>
                <a:gd name="connsiteY3" fmla="*/ 407340 h 1952402"/>
                <a:gd name="connsiteX4" fmla="*/ 2217364 w 2441896"/>
                <a:gd name="connsiteY4" fmla="*/ 814073 h 1952402"/>
                <a:gd name="connsiteX5" fmla="*/ 2217364 w 2441896"/>
                <a:gd name="connsiteY5" fmla="*/ 1472883 h 1952402"/>
                <a:gd name="connsiteX6" fmla="*/ 2217364 w 2441896"/>
                <a:gd name="connsiteY6" fmla="*/ 1699522 h 1952402"/>
                <a:gd name="connsiteX7" fmla="*/ 2217364 w 2441896"/>
                <a:gd name="connsiteY7" fmla="*/ 1952402 h 1952402"/>
                <a:gd name="connsiteX8" fmla="*/ 0 w 2441896"/>
                <a:gd name="connsiteY8" fmla="*/ 1952402 h 1952402"/>
                <a:gd name="connsiteX9" fmla="*/ 0 w 2441896"/>
                <a:gd name="connsiteY9" fmla="*/ 1699522 h 1952402"/>
                <a:gd name="connsiteX10" fmla="*/ 0 w 2441896"/>
                <a:gd name="connsiteY10" fmla="*/ 1472883 h 195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41896" h="1952402">
                  <a:moveTo>
                    <a:pt x="0" y="0"/>
                  </a:moveTo>
                  <a:lnTo>
                    <a:pt x="2217364" y="0"/>
                  </a:lnTo>
                  <a:lnTo>
                    <a:pt x="2217364" y="607"/>
                  </a:lnTo>
                  <a:lnTo>
                    <a:pt x="2441896" y="407340"/>
                  </a:lnTo>
                  <a:lnTo>
                    <a:pt x="2217364" y="814073"/>
                  </a:lnTo>
                  <a:lnTo>
                    <a:pt x="2217364" y="1472883"/>
                  </a:lnTo>
                  <a:lnTo>
                    <a:pt x="2217364" y="1699522"/>
                  </a:lnTo>
                  <a:lnTo>
                    <a:pt x="2217364" y="1952402"/>
                  </a:lnTo>
                  <a:lnTo>
                    <a:pt x="0" y="1952402"/>
                  </a:lnTo>
                  <a:lnTo>
                    <a:pt x="0" y="1699522"/>
                  </a:lnTo>
                  <a:lnTo>
                    <a:pt x="0" y="1472883"/>
                  </a:lnTo>
                  <a:close/>
                </a:path>
              </a:pathLst>
            </a:custGeom>
            <a:solidFill>
              <a:srgbClr val="287CB2"/>
            </a:solidFill>
            <a:ln>
              <a:noFill/>
            </a:ln>
            <a:effectLst>
              <a:outerShdw blurRad="317500" dist="38100" algn="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9C609A4-4A1B-427A-8199-00372CAA63B8}"/>
                </a:ext>
              </a:extLst>
            </p:cNvPr>
            <p:cNvGrpSpPr/>
            <p:nvPr/>
          </p:nvGrpSpPr>
          <p:grpSpPr>
            <a:xfrm>
              <a:off x="7288236" y="2079858"/>
              <a:ext cx="332054" cy="321616"/>
              <a:chOff x="2569485" y="4937447"/>
              <a:chExt cx="464344" cy="406400"/>
            </a:xfrm>
            <a:solidFill>
              <a:schemeClr val="bg1"/>
            </a:solidFill>
          </p:grpSpPr>
          <p:sp>
            <p:nvSpPr>
              <p:cNvPr id="36" name="AutoShape 103">
                <a:extLst>
                  <a:ext uri="{FF2B5EF4-FFF2-40B4-BE49-F238E27FC236}">
                    <a16:creationId xmlns:a16="http://schemas.microsoft.com/office/drawing/2014/main" id="{4ED05004-25D2-47C2-8BF2-FB9212C9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2510" y="5009678"/>
                <a:ext cx="166688" cy="1095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660" y="0"/>
                    </a:moveTo>
                    <a:cubicBezTo>
                      <a:pt x="9461" y="0"/>
                      <a:pt x="0" y="9233"/>
                      <a:pt x="0" y="20160"/>
                    </a:cubicBezTo>
                    <a:cubicBezTo>
                      <a:pt x="0" y="20954"/>
                      <a:pt x="420" y="21600"/>
                      <a:pt x="939" y="21600"/>
                    </a:cubicBezTo>
                    <a:cubicBezTo>
                      <a:pt x="1457" y="21600"/>
                      <a:pt x="1878" y="20954"/>
                      <a:pt x="1878" y="20160"/>
                    </a:cubicBezTo>
                    <a:cubicBezTo>
                      <a:pt x="1878" y="10956"/>
                      <a:pt x="10655" y="2880"/>
                      <a:pt x="20660" y="2880"/>
                    </a:cubicBezTo>
                    <a:cubicBezTo>
                      <a:pt x="21179" y="2880"/>
                      <a:pt x="21600" y="2234"/>
                      <a:pt x="21600" y="1440"/>
                    </a:cubicBezTo>
                    <a:cubicBezTo>
                      <a:pt x="21600" y="645"/>
                      <a:pt x="21179" y="0"/>
                      <a:pt x="2066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4275" tIns="14275" rIns="14275" bIns="14275" anchor="ctr"/>
              <a:lstStyle/>
              <a:p>
                <a:pPr algn="ctr" defTabSz="171292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4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37" name="AutoShape 104">
                <a:extLst>
                  <a:ext uri="{FF2B5EF4-FFF2-40B4-BE49-F238E27FC236}">
                    <a16:creationId xmlns:a16="http://schemas.microsoft.com/office/drawing/2014/main" id="{6088F60C-EEC0-427E-AA93-A2CC6962E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485" y="4937447"/>
                <a:ext cx="464344" cy="4064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6971"/>
                    </a:moveTo>
                    <a:cubicBezTo>
                      <a:pt x="10181" y="16971"/>
                      <a:pt x="9546" y="16918"/>
                      <a:pt x="8912" y="16811"/>
                    </a:cubicBezTo>
                    <a:cubicBezTo>
                      <a:pt x="8847" y="16800"/>
                      <a:pt x="8781" y="16794"/>
                      <a:pt x="8716" y="16794"/>
                    </a:cubicBezTo>
                    <a:cubicBezTo>
                      <a:pt x="8315" y="16794"/>
                      <a:pt x="7931" y="16999"/>
                      <a:pt x="7673" y="17359"/>
                    </a:cubicBezTo>
                    <a:cubicBezTo>
                      <a:pt x="7384" y="17761"/>
                      <a:pt x="6563" y="18657"/>
                      <a:pt x="5591" y="19318"/>
                    </a:cubicBezTo>
                    <a:cubicBezTo>
                      <a:pt x="5854" y="18628"/>
                      <a:pt x="6060" y="17853"/>
                      <a:pt x="6074" y="17056"/>
                    </a:cubicBezTo>
                    <a:cubicBezTo>
                      <a:pt x="6078" y="17006"/>
                      <a:pt x="6080" y="16956"/>
                      <a:pt x="6080" y="16914"/>
                    </a:cubicBezTo>
                    <a:cubicBezTo>
                      <a:pt x="6080" y="16334"/>
                      <a:pt x="5796" y="15803"/>
                      <a:pt x="5344" y="15540"/>
                    </a:cubicBezTo>
                    <a:cubicBezTo>
                      <a:pt x="2843" y="14080"/>
                      <a:pt x="1349" y="11731"/>
                      <a:pt x="1349" y="9257"/>
                    </a:cubicBezTo>
                    <a:cubicBezTo>
                      <a:pt x="1349" y="5003"/>
                      <a:pt x="5588" y="1542"/>
                      <a:pt x="10800" y="1542"/>
                    </a:cubicBezTo>
                    <a:cubicBezTo>
                      <a:pt x="16011" y="1542"/>
                      <a:pt x="20249" y="5003"/>
                      <a:pt x="20249" y="9257"/>
                    </a:cubicBezTo>
                    <a:cubicBezTo>
                      <a:pt x="20249" y="13510"/>
                      <a:pt x="16011" y="16971"/>
                      <a:pt x="10800" y="16971"/>
                    </a:cubicBezTo>
                    <a:moveTo>
                      <a:pt x="10800" y="0"/>
                    </a:moveTo>
                    <a:cubicBezTo>
                      <a:pt x="4835" y="0"/>
                      <a:pt x="0" y="4144"/>
                      <a:pt x="0" y="9257"/>
                    </a:cubicBezTo>
                    <a:cubicBezTo>
                      <a:pt x="0" y="12440"/>
                      <a:pt x="1875" y="15248"/>
                      <a:pt x="4730" y="16914"/>
                    </a:cubicBezTo>
                    <a:cubicBezTo>
                      <a:pt x="4730" y="16935"/>
                      <a:pt x="4724" y="16949"/>
                      <a:pt x="4724" y="16971"/>
                    </a:cubicBezTo>
                    <a:cubicBezTo>
                      <a:pt x="4724" y="18354"/>
                      <a:pt x="3821" y="19843"/>
                      <a:pt x="3423" y="20625"/>
                    </a:cubicBezTo>
                    <a:lnTo>
                      <a:pt x="3425" y="20625"/>
                    </a:lnTo>
                    <a:cubicBezTo>
                      <a:pt x="3393" y="20709"/>
                      <a:pt x="3374" y="20802"/>
                      <a:pt x="3374" y="20900"/>
                    </a:cubicBezTo>
                    <a:cubicBezTo>
                      <a:pt x="3374" y="21287"/>
                      <a:pt x="3648" y="21600"/>
                      <a:pt x="3986" y="21600"/>
                    </a:cubicBezTo>
                    <a:cubicBezTo>
                      <a:pt x="4049" y="21600"/>
                      <a:pt x="4161" y="21580"/>
                      <a:pt x="4158" y="21590"/>
                    </a:cubicBezTo>
                    <a:cubicBezTo>
                      <a:pt x="6268" y="21195"/>
                      <a:pt x="8255" y="18979"/>
                      <a:pt x="8716" y="18338"/>
                    </a:cubicBezTo>
                    <a:cubicBezTo>
                      <a:pt x="9391" y="18451"/>
                      <a:pt x="10086" y="18514"/>
                      <a:pt x="10800" y="18514"/>
                    </a:cubicBezTo>
                    <a:cubicBezTo>
                      <a:pt x="16764" y="18514"/>
                      <a:pt x="21600" y="14369"/>
                      <a:pt x="21600" y="9257"/>
                    </a:cubicBezTo>
                    <a:cubicBezTo>
                      <a:pt x="21600" y="4144"/>
                      <a:pt x="16764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4275" tIns="14275" rIns="14275" bIns="14275" anchor="ctr"/>
              <a:lstStyle/>
              <a:p>
                <a:pPr algn="ctr" defTabSz="171292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4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  <p:sp>
          <p:nvSpPr>
            <p:cNvPr id="14" name="AutoShape 112">
              <a:extLst>
                <a:ext uri="{FF2B5EF4-FFF2-40B4-BE49-F238E27FC236}">
                  <a16:creationId xmlns:a16="http://schemas.microsoft.com/office/drawing/2014/main" id="{B8FB68E7-11B5-40F9-B62F-22890407C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640" y="2081715"/>
              <a:ext cx="332053" cy="368103"/>
            </a:xfrm>
            <a:custGeom>
              <a:avLst/>
              <a:gdLst>
                <a:gd name="T0" fmla="*/ 10510 w 21020"/>
                <a:gd name="T1" fmla="*/ 10800 h 21600"/>
                <a:gd name="T2" fmla="*/ 10510 w 21020"/>
                <a:gd name="T3" fmla="*/ 10800 h 21600"/>
                <a:gd name="T4" fmla="*/ 10510 w 21020"/>
                <a:gd name="T5" fmla="*/ 10800 h 21600"/>
                <a:gd name="T6" fmla="*/ 10510 w 2102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20" h="21600">
                  <a:moveTo>
                    <a:pt x="18846" y="7946"/>
                  </a:moveTo>
                  <a:lnTo>
                    <a:pt x="17740" y="9091"/>
                  </a:lnTo>
                  <a:cubicBezTo>
                    <a:pt x="17740" y="8939"/>
                    <a:pt x="17758" y="8792"/>
                    <a:pt x="17744" y="8636"/>
                  </a:cubicBezTo>
                  <a:cubicBezTo>
                    <a:pt x="17629" y="7331"/>
                    <a:pt x="17036" y="6068"/>
                    <a:pt x="16074" y="5080"/>
                  </a:cubicBezTo>
                  <a:cubicBezTo>
                    <a:pt x="15004" y="3980"/>
                    <a:pt x="13585" y="3348"/>
                    <a:pt x="12180" y="3345"/>
                  </a:cubicBezTo>
                  <a:lnTo>
                    <a:pt x="13268" y="2218"/>
                  </a:lnTo>
                  <a:cubicBezTo>
                    <a:pt x="13812" y="1659"/>
                    <a:pt x="14572" y="1350"/>
                    <a:pt x="15403" y="1350"/>
                  </a:cubicBezTo>
                  <a:cubicBezTo>
                    <a:pt x="16460" y="1350"/>
                    <a:pt x="17546" y="1840"/>
                    <a:pt x="18381" y="2696"/>
                  </a:cubicBezTo>
                  <a:cubicBezTo>
                    <a:pt x="19165" y="3500"/>
                    <a:pt x="19631" y="4499"/>
                    <a:pt x="19698" y="5510"/>
                  </a:cubicBezTo>
                  <a:cubicBezTo>
                    <a:pt x="19760" y="6453"/>
                    <a:pt x="19457" y="7317"/>
                    <a:pt x="18846" y="7946"/>
                  </a:cubicBezTo>
                  <a:moveTo>
                    <a:pt x="5828" y="19329"/>
                  </a:moveTo>
                  <a:cubicBezTo>
                    <a:pt x="5813" y="18424"/>
                    <a:pt x="5454" y="17481"/>
                    <a:pt x="4730" y="16739"/>
                  </a:cubicBezTo>
                  <a:cubicBezTo>
                    <a:pt x="4046" y="16034"/>
                    <a:pt x="3150" y="15628"/>
                    <a:pt x="2257" y="15592"/>
                  </a:cubicBezTo>
                  <a:lnTo>
                    <a:pt x="2911" y="13157"/>
                  </a:lnTo>
                  <a:cubicBezTo>
                    <a:pt x="2959" y="12995"/>
                    <a:pt x="3052" y="12835"/>
                    <a:pt x="3168" y="12695"/>
                  </a:cubicBezTo>
                  <a:cubicBezTo>
                    <a:pt x="4485" y="11726"/>
                    <a:pt x="6512" y="12012"/>
                    <a:pt x="7920" y="13460"/>
                  </a:cubicBezTo>
                  <a:cubicBezTo>
                    <a:pt x="9409" y="14990"/>
                    <a:pt x="9639" y="17230"/>
                    <a:pt x="8492" y="18568"/>
                  </a:cubicBezTo>
                  <a:cubicBezTo>
                    <a:pt x="8416" y="18609"/>
                    <a:pt x="8339" y="18648"/>
                    <a:pt x="8256" y="18675"/>
                  </a:cubicBezTo>
                  <a:cubicBezTo>
                    <a:pt x="8256" y="18675"/>
                    <a:pt x="5828" y="19329"/>
                    <a:pt x="5828" y="19329"/>
                  </a:cubicBezTo>
                  <a:close/>
                  <a:moveTo>
                    <a:pt x="2737" y="20164"/>
                  </a:moveTo>
                  <a:cubicBezTo>
                    <a:pt x="2665" y="20181"/>
                    <a:pt x="2443" y="20239"/>
                    <a:pt x="2291" y="20249"/>
                  </a:cubicBezTo>
                  <a:cubicBezTo>
                    <a:pt x="1751" y="20244"/>
                    <a:pt x="1313" y="19792"/>
                    <a:pt x="1313" y="19237"/>
                  </a:cubicBezTo>
                  <a:cubicBezTo>
                    <a:pt x="1321" y="19124"/>
                    <a:pt x="1365" y="18929"/>
                    <a:pt x="1380" y="18857"/>
                  </a:cubicBezTo>
                  <a:lnTo>
                    <a:pt x="2071" y="16283"/>
                  </a:lnTo>
                  <a:cubicBezTo>
                    <a:pt x="2822" y="16261"/>
                    <a:pt x="3630" y="16562"/>
                    <a:pt x="4265" y="17215"/>
                  </a:cubicBezTo>
                  <a:cubicBezTo>
                    <a:pt x="4911" y="17878"/>
                    <a:pt x="5214" y="18725"/>
                    <a:pt x="5181" y="19504"/>
                  </a:cubicBezTo>
                  <a:cubicBezTo>
                    <a:pt x="5181" y="19504"/>
                    <a:pt x="2737" y="20164"/>
                    <a:pt x="2737" y="20164"/>
                  </a:cubicBezTo>
                  <a:close/>
                  <a:moveTo>
                    <a:pt x="6888" y="11179"/>
                  </a:moveTo>
                  <a:cubicBezTo>
                    <a:pt x="6280" y="10927"/>
                    <a:pt x="5642" y="10783"/>
                    <a:pt x="5004" y="10774"/>
                  </a:cubicBezTo>
                  <a:lnTo>
                    <a:pt x="10063" y="5536"/>
                  </a:lnTo>
                  <a:cubicBezTo>
                    <a:pt x="10838" y="4759"/>
                    <a:pt x="11966" y="4536"/>
                    <a:pt x="13077" y="4819"/>
                  </a:cubicBezTo>
                  <a:cubicBezTo>
                    <a:pt x="13077" y="4819"/>
                    <a:pt x="6888" y="11179"/>
                    <a:pt x="6888" y="11179"/>
                  </a:cubicBezTo>
                  <a:close/>
                  <a:moveTo>
                    <a:pt x="9717" y="13672"/>
                  </a:moveTo>
                  <a:cubicBezTo>
                    <a:pt x="9473" y="13258"/>
                    <a:pt x="9194" y="12859"/>
                    <a:pt x="8848" y="12505"/>
                  </a:cubicBezTo>
                  <a:cubicBezTo>
                    <a:pt x="8447" y="12093"/>
                    <a:pt x="7986" y="11770"/>
                    <a:pt x="7507" y="11498"/>
                  </a:cubicBezTo>
                  <a:lnTo>
                    <a:pt x="13767" y="5064"/>
                  </a:lnTo>
                  <a:cubicBezTo>
                    <a:pt x="14259" y="5288"/>
                    <a:pt x="14729" y="5607"/>
                    <a:pt x="15145" y="6035"/>
                  </a:cubicBezTo>
                  <a:cubicBezTo>
                    <a:pt x="15500" y="6398"/>
                    <a:pt x="15775" y="6806"/>
                    <a:pt x="15987" y="7229"/>
                  </a:cubicBezTo>
                  <a:cubicBezTo>
                    <a:pt x="15987" y="7229"/>
                    <a:pt x="9717" y="13672"/>
                    <a:pt x="9717" y="13672"/>
                  </a:cubicBezTo>
                  <a:close/>
                  <a:moveTo>
                    <a:pt x="10519" y="16061"/>
                  </a:moveTo>
                  <a:cubicBezTo>
                    <a:pt x="10465" y="15452"/>
                    <a:pt x="10298" y="14854"/>
                    <a:pt x="10047" y="14288"/>
                  </a:cubicBezTo>
                  <a:lnTo>
                    <a:pt x="16257" y="7906"/>
                  </a:lnTo>
                  <a:cubicBezTo>
                    <a:pt x="16637" y="9140"/>
                    <a:pt x="16442" y="10429"/>
                    <a:pt x="15610" y="11284"/>
                  </a:cubicBezTo>
                  <a:cubicBezTo>
                    <a:pt x="15604" y="11290"/>
                    <a:pt x="15598" y="11293"/>
                    <a:pt x="15593" y="11298"/>
                  </a:cubicBezTo>
                  <a:lnTo>
                    <a:pt x="15602" y="11306"/>
                  </a:lnTo>
                  <a:lnTo>
                    <a:pt x="10525" y="16565"/>
                  </a:lnTo>
                  <a:cubicBezTo>
                    <a:pt x="10527" y="16397"/>
                    <a:pt x="10534" y="16232"/>
                    <a:pt x="10519" y="16061"/>
                  </a:cubicBezTo>
                  <a:moveTo>
                    <a:pt x="19308" y="1741"/>
                  </a:moveTo>
                  <a:cubicBezTo>
                    <a:pt x="18228" y="632"/>
                    <a:pt x="16805" y="0"/>
                    <a:pt x="15403" y="0"/>
                  </a:cubicBezTo>
                  <a:cubicBezTo>
                    <a:pt x="14220" y="0"/>
                    <a:pt x="13131" y="450"/>
                    <a:pt x="12335" y="1266"/>
                  </a:cubicBezTo>
                  <a:lnTo>
                    <a:pt x="9138" y="4577"/>
                  </a:lnTo>
                  <a:cubicBezTo>
                    <a:pt x="9129" y="4585"/>
                    <a:pt x="9118" y="4592"/>
                    <a:pt x="9108" y="4602"/>
                  </a:cubicBezTo>
                  <a:cubicBezTo>
                    <a:pt x="9103" y="4608"/>
                    <a:pt x="9100" y="4614"/>
                    <a:pt x="9095" y="4620"/>
                  </a:cubicBezTo>
                  <a:lnTo>
                    <a:pt x="9096" y="4621"/>
                  </a:lnTo>
                  <a:lnTo>
                    <a:pt x="2310" y="11647"/>
                  </a:lnTo>
                  <a:cubicBezTo>
                    <a:pt x="1998" y="11966"/>
                    <a:pt x="1771" y="12364"/>
                    <a:pt x="1645" y="12797"/>
                  </a:cubicBezTo>
                  <a:lnTo>
                    <a:pt x="102" y="18541"/>
                  </a:lnTo>
                  <a:cubicBezTo>
                    <a:pt x="100" y="18557"/>
                    <a:pt x="0" y="19008"/>
                    <a:pt x="0" y="19237"/>
                  </a:cubicBezTo>
                  <a:cubicBezTo>
                    <a:pt x="0" y="20541"/>
                    <a:pt x="1030" y="21599"/>
                    <a:pt x="2302" y="21599"/>
                  </a:cubicBezTo>
                  <a:cubicBezTo>
                    <a:pt x="2554" y="21599"/>
                    <a:pt x="3044" y="21475"/>
                    <a:pt x="3062" y="21473"/>
                  </a:cubicBezTo>
                  <a:lnTo>
                    <a:pt x="8630" y="19969"/>
                  </a:lnTo>
                  <a:cubicBezTo>
                    <a:pt x="9054" y="19839"/>
                    <a:pt x="9439" y="19604"/>
                    <a:pt x="9750" y="19283"/>
                  </a:cubicBezTo>
                  <a:lnTo>
                    <a:pt x="19776" y="8899"/>
                  </a:lnTo>
                  <a:cubicBezTo>
                    <a:pt x="21600" y="7023"/>
                    <a:pt x="21394" y="3881"/>
                    <a:pt x="19308" y="17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4275" tIns="14275" rIns="14275" bIns="14275" anchor="ctr"/>
            <a:lstStyle/>
            <a:p>
              <a:pPr algn="ctr" defTabSz="171292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24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474527C-9DEF-4D8B-9C26-520AF7298C81}"/>
                </a:ext>
              </a:extLst>
            </p:cNvPr>
            <p:cNvSpPr txBox="1"/>
            <p:nvPr/>
          </p:nvSpPr>
          <p:spPr>
            <a:xfrm>
              <a:off x="7172332" y="2487146"/>
              <a:ext cx="1502736" cy="461408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199" b="1">
                  <a:solidFill>
                    <a:schemeClr val="bg1"/>
                  </a:solidFill>
                  <a:cs typeface="Segoe UI" panose="020B0502040204020203" pitchFamily="34" charset="0"/>
                </a:rPr>
                <a:t>Higher levels of Suppor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32369D6-A38D-42FB-8463-877F4CB9DB54}"/>
                </a:ext>
              </a:extLst>
            </p:cNvPr>
            <p:cNvSpPr txBox="1"/>
            <p:nvPr/>
          </p:nvSpPr>
          <p:spPr>
            <a:xfrm>
              <a:off x="3772253" y="2918530"/>
              <a:ext cx="1505937" cy="75410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Expand applicability to more orgs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Self-service portals 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Focus on laymen </a:t>
              </a:r>
              <a:r>
                <a:rPr lang="en-AU" sz="999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accessible</a:t>
              </a: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 terminology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CBE532-AFEA-4A49-AD20-974A60F6699B}"/>
                </a:ext>
              </a:extLst>
            </p:cNvPr>
            <p:cNvSpPr txBox="1"/>
            <p:nvPr/>
          </p:nvSpPr>
          <p:spPr>
            <a:xfrm>
              <a:off x="5432616" y="2493227"/>
              <a:ext cx="1502736" cy="461408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199" b="1" dirty="0">
                  <a:solidFill>
                    <a:schemeClr val="bg1"/>
                  </a:solidFill>
                  <a:cs typeface="Segoe UI" panose="020B0502040204020203" pitchFamily="34" charset="0"/>
                </a:rPr>
                <a:t>Improve Guidance Material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7E6171E-21F8-4C6D-95D2-E23347710900}"/>
                </a:ext>
              </a:extLst>
            </p:cNvPr>
            <p:cNvSpPr txBox="1"/>
            <p:nvPr/>
          </p:nvSpPr>
          <p:spPr>
            <a:xfrm>
              <a:off x="5432617" y="2918530"/>
              <a:ext cx="1505937" cy="127908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Update guidance materials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Improve presentation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Openly accessible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Structured to highlight crucial parts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Link to more background information</a:t>
              </a:r>
              <a:endParaRPr lang="en-US" sz="999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F7B2A3C-2A06-4D22-87D1-B60EAE94371B}"/>
                </a:ext>
              </a:extLst>
            </p:cNvPr>
            <p:cNvSpPr txBox="1"/>
            <p:nvPr/>
          </p:nvSpPr>
          <p:spPr>
            <a:xfrm>
              <a:off x="7080014" y="2974090"/>
              <a:ext cx="1505937" cy="89725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Personalised support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Engagement methods (meetings, video-conferences)</a:t>
              </a:r>
            </a:p>
            <a:p>
              <a:pPr marL="171292" indent="-171292">
                <a:spcAft>
                  <a:spcPts val="449"/>
                </a:spcAft>
                <a:buFont typeface="Arial" panose="020B0604020202020204" pitchFamily="34" charset="0"/>
                <a:buChar char="•"/>
              </a:pPr>
              <a:r>
                <a:rPr lang="en-AU" sz="999" dirty="0">
                  <a:solidFill>
                    <a:schemeClr val="bg1"/>
                  </a:solidFill>
                  <a:latin typeface="+mj-lt"/>
                  <a:cs typeface="Segoe UI Semibold" panose="020B0702040204020203" pitchFamily="34" charset="0"/>
                </a:rPr>
                <a:t>Start-up packs with reference materials and case studies </a:t>
              </a:r>
              <a:endParaRPr lang="en-US" sz="999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687F248-655C-4AFE-A45D-2DD968545D5D}"/>
                </a:ext>
              </a:extLst>
            </p:cNvPr>
            <p:cNvGrpSpPr/>
            <p:nvPr/>
          </p:nvGrpSpPr>
          <p:grpSpPr>
            <a:xfrm>
              <a:off x="3996277" y="2103706"/>
              <a:ext cx="332620" cy="430586"/>
              <a:chOff x="5368132" y="3540125"/>
              <a:chExt cx="465138" cy="435769"/>
            </a:xfrm>
            <a:solidFill>
              <a:schemeClr val="bg1"/>
            </a:solidFill>
          </p:grpSpPr>
          <p:sp>
            <p:nvSpPr>
              <p:cNvPr id="30" name="AutoShape 110">
                <a:extLst>
                  <a:ext uri="{FF2B5EF4-FFF2-40B4-BE49-F238E27FC236}">
                    <a16:creationId xmlns:a16="http://schemas.microsoft.com/office/drawing/2014/main" id="{73E45C3E-D382-49E6-A5FF-D5469C030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869" y="3598069"/>
                <a:ext cx="347663" cy="2325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699" y="20255"/>
                    </a:moveTo>
                    <a:lnTo>
                      <a:pt x="899" y="20255"/>
                    </a:lnTo>
                    <a:lnTo>
                      <a:pt x="899" y="1350"/>
                    </a:lnTo>
                    <a:lnTo>
                      <a:pt x="20699" y="1350"/>
                    </a:lnTo>
                    <a:cubicBezTo>
                      <a:pt x="20699" y="1350"/>
                      <a:pt x="20699" y="20255"/>
                      <a:pt x="20699" y="20255"/>
                    </a:cubicBezTo>
                    <a:close/>
                    <a:moveTo>
                      <a:pt x="20699" y="0"/>
                    </a:moveTo>
                    <a:lnTo>
                      <a:pt x="899" y="5"/>
                    </a:lnTo>
                    <a:cubicBezTo>
                      <a:pt x="402" y="5"/>
                      <a:pt x="0" y="603"/>
                      <a:pt x="0" y="1350"/>
                    </a:cubicBezTo>
                    <a:lnTo>
                      <a:pt x="0" y="20249"/>
                    </a:lnTo>
                    <a:cubicBezTo>
                      <a:pt x="0" y="20996"/>
                      <a:pt x="402" y="21599"/>
                      <a:pt x="899" y="21599"/>
                    </a:cubicBezTo>
                    <a:lnTo>
                      <a:pt x="20699" y="21599"/>
                    </a:lnTo>
                    <a:cubicBezTo>
                      <a:pt x="21197" y="21599"/>
                      <a:pt x="21600" y="20996"/>
                      <a:pt x="21600" y="20249"/>
                    </a:cubicBezTo>
                    <a:lnTo>
                      <a:pt x="21600" y="1350"/>
                    </a:lnTo>
                    <a:cubicBezTo>
                      <a:pt x="21600" y="603"/>
                      <a:pt x="21197" y="0"/>
                      <a:pt x="20699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4275" tIns="14275" rIns="14275" bIns="14275" anchor="ctr"/>
              <a:lstStyle/>
              <a:p>
                <a:pPr algn="ctr" defTabSz="171292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4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31" name="AutoShape 111">
                <a:extLst>
                  <a:ext uri="{FF2B5EF4-FFF2-40B4-BE49-F238E27FC236}">
                    <a16:creationId xmlns:a16="http://schemas.microsoft.com/office/drawing/2014/main" id="{4ED0CD43-F215-496C-8967-55FC5CDD2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8132" y="3540125"/>
                <a:ext cx="465138" cy="4357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49" y="16562"/>
                    </a:moveTo>
                    <a:cubicBezTo>
                      <a:pt x="20249" y="16959"/>
                      <a:pt x="19946" y="17282"/>
                      <a:pt x="19575" y="17282"/>
                    </a:cubicBezTo>
                    <a:lnTo>
                      <a:pt x="13499" y="17282"/>
                    </a:lnTo>
                    <a:lnTo>
                      <a:pt x="8099" y="17282"/>
                    </a:lnTo>
                    <a:lnTo>
                      <a:pt x="2024" y="17282"/>
                    </a:lnTo>
                    <a:cubicBezTo>
                      <a:pt x="1651" y="17282"/>
                      <a:pt x="1349" y="16959"/>
                      <a:pt x="1349" y="16562"/>
                    </a:cubicBezTo>
                    <a:lnTo>
                      <a:pt x="1349" y="2160"/>
                    </a:lnTo>
                    <a:cubicBezTo>
                      <a:pt x="1349" y="1762"/>
                      <a:pt x="1651" y="1440"/>
                      <a:pt x="2024" y="1440"/>
                    </a:cubicBezTo>
                    <a:lnTo>
                      <a:pt x="19575" y="1440"/>
                    </a:lnTo>
                    <a:cubicBezTo>
                      <a:pt x="19946" y="1440"/>
                      <a:pt x="20249" y="1762"/>
                      <a:pt x="20249" y="2160"/>
                    </a:cubicBezTo>
                    <a:cubicBezTo>
                      <a:pt x="20249" y="2160"/>
                      <a:pt x="20249" y="16562"/>
                      <a:pt x="20249" y="16562"/>
                    </a:cubicBezTo>
                    <a:close/>
                    <a:moveTo>
                      <a:pt x="19575" y="0"/>
                    </a:moveTo>
                    <a:lnTo>
                      <a:pt x="2024" y="0"/>
                    </a:lnTo>
                    <a:cubicBezTo>
                      <a:pt x="905" y="0"/>
                      <a:pt x="0" y="966"/>
                      <a:pt x="0" y="2160"/>
                    </a:cubicBezTo>
                    <a:lnTo>
                      <a:pt x="0" y="16562"/>
                    </a:lnTo>
                    <a:cubicBezTo>
                      <a:pt x="0" y="17753"/>
                      <a:pt x="903" y="18718"/>
                      <a:pt x="2018" y="18721"/>
                    </a:cubicBezTo>
                    <a:lnTo>
                      <a:pt x="8774" y="18721"/>
                    </a:lnTo>
                    <a:lnTo>
                      <a:pt x="8774" y="19597"/>
                    </a:lnTo>
                    <a:lnTo>
                      <a:pt x="4561" y="20181"/>
                    </a:lnTo>
                    <a:cubicBezTo>
                      <a:pt x="4260" y="20262"/>
                      <a:pt x="4049" y="20549"/>
                      <a:pt x="4049" y="20879"/>
                    </a:cubicBezTo>
                    <a:cubicBezTo>
                      <a:pt x="4049" y="21277"/>
                      <a:pt x="4351" y="21599"/>
                      <a:pt x="4724" y="21599"/>
                    </a:cubicBezTo>
                    <a:lnTo>
                      <a:pt x="16874" y="21599"/>
                    </a:lnTo>
                    <a:cubicBezTo>
                      <a:pt x="17248" y="21599"/>
                      <a:pt x="17549" y="21277"/>
                      <a:pt x="17549" y="20879"/>
                    </a:cubicBezTo>
                    <a:cubicBezTo>
                      <a:pt x="17549" y="20549"/>
                      <a:pt x="17339" y="20262"/>
                      <a:pt x="17038" y="20181"/>
                    </a:cubicBezTo>
                    <a:lnTo>
                      <a:pt x="12824" y="19597"/>
                    </a:lnTo>
                    <a:lnTo>
                      <a:pt x="12824" y="18721"/>
                    </a:lnTo>
                    <a:lnTo>
                      <a:pt x="19581" y="18721"/>
                    </a:lnTo>
                    <a:cubicBezTo>
                      <a:pt x="20696" y="18718"/>
                      <a:pt x="21600" y="17753"/>
                      <a:pt x="21600" y="16562"/>
                    </a:cubicBezTo>
                    <a:lnTo>
                      <a:pt x="21600" y="2160"/>
                    </a:lnTo>
                    <a:cubicBezTo>
                      <a:pt x="21600" y="966"/>
                      <a:pt x="20692" y="0"/>
                      <a:pt x="19575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4275" tIns="14275" rIns="14275" bIns="14275" anchor="ctr"/>
              <a:lstStyle/>
              <a:p>
                <a:pPr algn="ctr" defTabSz="171292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4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CFE50E2-C164-42CF-BC0E-E6E5A9EC2587}"/>
                </a:ext>
              </a:extLst>
            </p:cNvPr>
            <p:cNvSpPr txBox="1"/>
            <p:nvPr/>
          </p:nvSpPr>
          <p:spPr>
            <a:xfrm>
              <a:off x="3839982" y="2497060"/>
              <a:ext cx="1502736" cy="461408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199" b="1">
                  <a:solidFill>
                    <a:schemeClr val="bg1"/>
                  </a:solidFill>
                  <a:cs typeface="Segoe UI" panose="020B0502040204020203" pitchFamily="34" charset="0"/>
                </a:rPr>
                <a:t>Enhance Tooling (Mu2)</a:t>
              </a:r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D211F987-DDA1-447E-9791-7306CE67297F}"/>
                </a:ext>
              </a:extLst>
            </p:cNvPr>
            <p:cNvSpPr/>
            <p:nvPr/>
          </p:nvSpPr>
          <p:spPr>
            <a:xfrm>
              <a:off x="6514734" y="2001320"/>
              <a:ext cx="551918" cy="531174"/>
            </a:xfrm>
            <a:prstGeom prst="hexagon">
              <a:avLst>
                <a:gd name="adj" fmla="val 27602"/>
                <a:gd name="vf" fmla="val 11547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99" b="1" dirty="0">
                  <a:solidFill>
                    <a:schemeClr val="lt1">
                      <a:alpha val="40000"/>
                    </a:schemeClr>
                  </a:solidFill>
                </a:rPr>
                <a:t>2</a:t>
              </a:r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754B0D9A-B7C8-4ED6-BD42-FE9AEF25535B}"/>
                </a:ext>
              </a:extLst>
            </p:cNvPr>
            <p:cNvSpPr/>
            <p:nvPr/>
          </p:nvSpPr>
          <p:spPr>
            <a:xfrm>
              <a:off x="4854371" y="2001320"/>
              <a:ext cx="551918" cy="531174"/>
            </a:xfrm>
            <a:prstGeom prst="hexagon">
              <a:avLst>
                <a:gd name="adj" fmla="val 27602"/>
                <a:gd name="vf" fmla="val 11547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99" b="1" dirty="0">
                  <a:solidFill>
                    <a:schemeClr val="bg1">
                      <a:alpha val="40000"/>
                    </a:schemeClr>
                  </a:solidFill>
                </a:rPr>
                <a:t>1</a:t>
              </a: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C1B29ED1-3E4C-4EA0-BAE7-8F0D21A51E5B}"/>
                </a:ext>
              </a:extLst>
            </p:cNvPr>
            <p:cNvSpPr/>
            <p:nvPr/>
          </p:nvSpPr>
          <p:spPr>
            <a:xfrm>
              <a:off x="8157827" y="2000179"/>
              <a:ext cx="551918" cy="531174"/>
            </a:xfrm>
            <a:prstGeom prst="hexagon">
              <a:avLst>
                <a:gd name="adj" fmla="val 27602"/>
                <a:gd name="vf" fmla="val 11547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99" b="1">
                  <a:solidFill>
                    <a:schemeClr val="lt1">
                      <a:alpha val="40000"/>
                    </a:schemeClr>
                  </a:solidFill>
                </a:rPr>
                <a:t>3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5E4FA4-2701-4E2B-BB6F-0DD8CA9DFBBB}"/>
              </a:ext>
            </a:extLst>
          </p:cNvPr>
          <p:cNvSpPr/>
          <p:nvPr/>
        </p:nvSpPr>
        <p:spPr>
          <a:xfrm>
            <a:off x="440560" y="941667"/>
            <a:ext cx="7467197" cy="462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3515" marR="12065">
              <a:lnSpc>
                <a:spcPct val="102000"/>
              </a:lnSpc>
              <a:spcBef>
                <a:spcPts val="665"/>
              </a:spcBef>
              <a:spcAft>
                <a:spcPts val="0"/>
              </a:spcAft>
            </a:pPr>
            <a:r>
              <a:rPr lang="en-US" sz="1200" dirty="0">
                <a:latin typeface="Arial Nova" panose="020B0504020202020204" pitchFamily="34" charset="0"/>
              </a:rPr>
              <a:t>We want to improve the ways we deliver support and assistance for all Providers to complete the RFFR accreditation process, through improved collaboration and support.</a:t>
            </a:r>
            <a:endParaRPr lang="en-AU" sz="1200" dirty="0">
              <a:latin typeface="Arial Nova" panose="020B05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33BD42D-4046-4481-BCB0-17FDE66C458C}"/>
              </a:ext>
            </a:extLst>
          </p:cNvPr>
          <p:cNvSpPr txBox="1"/>
          <p:nvPr/>
        </p:nvSpPr>
        <p:spPr>
          <a:xfrm>
            <a:off x="581497" y="398352"/>
            <a:ext cx="7409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RFFR Improvement Initiatives</a:t>
            </a:r>
          </a:p>
        </p:txBody>
      </p:sp>
    </p:spTree>
    <p:extLst>
      <p:ext uri="{BB962C8B-B14F-4D97-AF65-F5344CB8AC3E}">
        <p14:creationId xmlns:p14="http://schemas.microsoft.com/office/powerpoint/2010/main" val="1394717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26409E8-159C-4F5F-A6F8-D750754B19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1" r="-1"/>
          <a:stretch/>
        </p:blipFill>
        <p:spPr>
          <a:xfrm>
            <a:off x="638974" y="449310"/>
            <a:ext cx="6275535" cy="4698952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2520A4-9881-45F6-BD75-614D4C4D5635}"/>
              </a:ext>
            </a:extLst>
          </p:cNvPr>
          <p:cNvGrpSpPr/>
          <p:nvPr/>
        </p:nvGrpSpPr>
        <p:grpSpPr>
          <a:xfrm rot="16200000">
            <a:off x="6252418" y="2889107"/>
            <a:ext cx="1822447" cy="2802235"/>
            <a:chOff x="351765" y="1686767"/>
            <a:chExt cx="3037779" cy="3832325"/>
          </a:xfrm>
          <a:effectLst>
            <a:reflection stA="95000" endPos="17000" dir="5400000" sy="-100000" algn="bl" rotWithShape="0"/>
          </a:effectLst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AF9C0A-89B7-428A-B68D-19C0F4C0786B}"/>
                </a:ext>
              </a:extLst>
            </p:cNvPr>
            <p:cNvSpPr/>
            <p:nvPr/>
          </p:nvSpPr>
          <p:spPr>
            <a:xfrm>
              <a:off x="2482429" y="2970169"/>
              <a:ext cx="907115" cy="1265517"/>
            </a:xfrm>
            <a:custGeom>
              <a:avLst/>
              <a:gdLst>
                <a:gd name="connsiteX0" fmla="*/ 534318 w 907115"/>
                <a:gd name="connsiteY0" fmla="*/ 0 h 1068636"/>
                <a:gd name="connsiteX1" fmla="*/ 575500 w 907115"/>
                <a:gd name="connsiteY1" fmla="*/ 4151 h 1068636"/>
                <a:gd name="connsiteX2" fmla="*/ 765672 w 907115"/>
                <a:gd name="connsiteY2" fmla="*/ 194323 h 1068636"/>
                <a:gd name="connsiteX3" fmla="*/ 765672 w 907115"/>
                <a:gd name="connsiteY3" fmla="*/ 877271 h 1068636"/>
                <a:gd name="connsiteX4" fmla="*/ 578790 w 907115"/>
                <a:gd name="connsiteY4" fmla="*/ 1064153 h 1068636"/>
                <a:gd name="connsiteX5" fmla="*/ 534318 w 907115"/>
                <a:gd name="connsiteY5" fmla="*/ 1068636 h 1068636"/>
                <a:gd name="connsiteX6" fmla="*/ 0 w 907115"/>
                <a:gd name="connsiteY6" fmla="*/ 534318 h 1068636"/>
                <a:gd name="connsiteX7" fmla="*/ 534318 w 907115"/>
                <a:gd name="connsiteY7" fmla="*/ 0 h 106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115" h="1068636">
                  <a:moveTo>
                    <a:pt x="534318" y="0"/>
                  </a:moveTo>
                  <a:lnTo>
                    <a:pt x="575500" y="4151"/>
                  </a:lnTo>
                  <a:lnTo>
                    <a:pt x="765672" y="194323"/>
                  </a:lnTo>
                  <a:cubicBezTo>
                    <a:pt x="954263" y="382914"/>
                    <a:pt x="954263" y="688680"/>
                    <a:pt x="765672" y="877271"/>
                  </a:cubicBezTo>
                  <a:lnTo>
                    <a:pt x="578790" y="1064153"/>
                  </a:lnTo>
                  <a:lnTo>
                    <a:pt x="534318" y="1068636"/>
                  </a:lnTo>
                  <a:cubicBezTo>
                    <a:pt x="239222" y="1068636"/>
                    <a:pt x="0" y="829414"/>
                    <a:pt x="0" y="534318"/>
                  </a:cubicBezTo>
                  <a:cubicBezTo>
                    <a:pt x="0" y="239222"/>
                    <a:pt x="239222" y="0"/>
                    <a:pt x="534318" y="0"/>
                  </a:cubicBezTo>
                  <a:close/>
                </a:path>
              </a:pathLst>
            </a:custGeom>
            <a:solidFill>
              <a:srgbClr val="287DB2"/>
            </a:solidFill>
            <a:ln>
              <a:noFill/>
            </a:ln>
            <a:effectLst>
              <a:outerShdw blurRad="254000" dist="889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61A3F80-3C8C-48FC-83BA-3A47A4DC59C8}"/>
                </a:ext>
              </a:extLst>
            </p:cNvPr>
            <p:cNvSpPr/>
            <p:nvPr/>
          </p:nvSpPr>
          <p:spPr>
            <a:xfrm>
              <a:off x="841374" y="1686767"/>
              <a:ext cx="2219844" cy="3832325"/>
            </a:xfrm>
            <a:custGeom>
              <a:avLst/>
              <a:gdLst>
                <a:gd name="connsiteX0" fmla="*/ 0 w 2219844"/>
                <a:gd name="connsiteY0" fmla="*/ 0 h 3236117"/>
                <a:gd name="connsiteX1" fmla="*/ 920627 w 2219844"/>
                <a:gd name="connsiteY1" fmla="*/ 0 h 3236117"/>
                <a:gd name="connsiteX2" fmla="*/ 1015361 w 2219844"/>
                <a:gd name="connsiteY2" fmla="*/ 9551 h 3236117"/>
                <a:gd name="connsiteX3" fmla="*/ 1072678 w 2219844"/>
                <a:gd name="connsiteY3" fmla="*/ 27343 h 3236117"/>
                <a:gd name="connsiteX4" fmla="*/ 1114829 w 2219844"/>
                <a:gd name="connsiteY4" fmla="*/ 39835 h 3236117"/>
                <a:gd name="connsiteX5" fmla="*/ 1274580 w 2219844"/>
                <a:gd name="connsiteY5" fmla="*/ 145917 h 3236117"/>
                <a:gd name="connsiteX6" fmla="*/ 2216554 w 2219844"/>
                <a:gd name="connsiteY6" fmla="*/ 1087891 h 3236117"/>
                <a:gd name="connsiteX7" fmla="*/ 2175372 w 2219844"/>
                <a:gd name="connsiteY7" fmla="*/ 1083740 h 3236117"/>
                <a:gd name="connsiteX8" fmla="*/ 1641054 w 2219844"/>
                <a:gd name="connsiteY8" fmla="*/ 1618058 h 3236117"/>
                <a:gd name="connsiteX9" fmla="*/ 2175372 w 2219844"/>
                <a:gd name="connsiteY9" fmla="*/ 2152376 h 3236117"/>
                <a:gd name="connsiteX10" fmla="*/ 2219844 w 2219844"/>
                <a:gd name="connsiteY10" fmla="*/ 2147893 h 3236117"/>
                <a:gd name="connsiteX11" fmla="*/ 1274580 w 2219844"/>
                <a:gd name="connsiteY11" fmla="*/ 3093157 h 3236117"/>
                <a:gd name="connsiteX12" fmla="*/ 1025340 w 2219844"/>
                <a:gd name="connsiteY12" fmla="*/ 3225760 h 3236117"/>
                <a:gd name="connsiteX13" fmla="*/ 985458 w 2219844"/>
                <a:gd name="connsiteY13" fmla="*/ 3229583 h 3236117"/>
                <a:gd name="connsiteX14" fmla="*/ 920627 w 2219844"/>
                <a:gd name="connsiteY14" fmla="*/ 3236117 h 3236117"/>
                <a:gd name="connsiteX15" fmla="*/ 0 w 2219844"/>
                <a:gd name="connsiteY15" fmla="*/ 3236117 h 3236117"/>
                <a:gd name="connsiteX16" fmla="*/ 0 w 2219844"/>
                <a:gd name="connsiteY16" fmla="*/ 0 h 3236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9844" h="3236117">
                  <a:moveTo>
                    <a:pt x="0" y="0"/>
                  </a:moveTo>
                  <a:lnTo>
                    <a:pt x="920627" y="0"/>
                  </a:lnTo>
                  <a:cubicBezTo>
                    <a:pt x="953078" y="0"/>
                    <a:pt x="984761" y="3289"/>
                    <a:pt x="1015361" y="9551"/>
                  </a:cubicBezTo>
                  <a:lnTo>
                    <a:pt x="1072678" y="27343"/>
                  </a:lnTo>
                  <a:lnTo>
                    <a:pt x="1114829" y="39835"/>
                  </a:lnTo>
                  <a:cubicBezTo>
                    <a:pt x="1172961" y="63408"/>
                    <a:pt x="1227432" y="98769"/>
                    <a:pt x="1274580" y="145917"/>
                  </a:cubicBezTo>
                  <a:lnTo>
                    <a:pt x="2216554" y="1087891"/>
                  </a:lnTo>
                  <a:lnTo>
                    <a:pt x="2175372" y="1083740"/>
                  </a:lnTo>
                  <a:cubicBezTo>
                    <a:pt x="1880276" y="1083740"/>
                    <a:pt x="1641054" y="1322962"/>
                    <a:pt x="1641054" y="1618058"/>
                  </a:cubicBezTo>
                  <a:cubicBezTo>
                    <a:pt x="1641054" y="1913154"/>
                    <a:pt x="1880276" y="2152376"/>
                    <a:pt x="2175372" y="2152376"/>
                  </a:cubicBezTo>
                  <a:lnTo>
                    <a:pt x="2219844" y="2147893"/>
                  </a:lnTo>
                  <a:lnTo>
                    <a:pt x="1274580" y="3093157"/>
                  </a:lnTo>
                  <a:cubicBezTo>
                    <a:pt x="1203859" y="3163878"/>
                    <a:pt x="1116659" y="3208080"/>
                    <a:pt x="1025340" y="3225760"/>
                  </a:cubicBezTo>
                  <a:lnTo>
                    <a:pt x="985458" y="3229583"/>
                  </a:lnTo>
                  <a:lnTo>
                    <a:pt x="920627" y="3236117"/>
                  </a:lnTo>
                  <a:lnTo>
                    <a:pt x="0" y="3236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254000" dist="889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DAA40366-0198-4D27-AC87-94A476863C4F}"/>
                </a:ext>
              </a:extLst>
            </p:cNvPr>
            <p:cNvSpPr/>
            <p:nvPr/>
          </p:nvSpPr>
          <p:spPr>
            <a:xfrm>
              <a:off x="351765" y="1686767"/>
              <a:ext cx="518388" cy="3832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528" y="-1027564"/>
            <a:ext cx="6364188" cy="993775"/>
          </a:xfrm>
        </p:spPr>
        <p:txBody>
          <a:bodyPr/>
          <a:lstStyle/>
          <a:p>
            <a:r>
              <a:rPr lang="en-US" dirty="0" err="1">
                <a:solidFill>
                  <a:srgbClr val="E6E6E6"/>
                </a:solidFill>
              </a:rPr>
              <a:t>MyGovID</a:t>
            </a:r>
            <a:endParaRPr lang="en-US" dirty="0">
              <a:solidFill>
                <a:srgbClr val="E6E6E6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EFCEEA-AD1F-458D-9F88-655C8CBC19C6}"/>
              </a:ext>
            </a:extLst>
          </p:cNvPr>
          <p:cNvSpPr/>
          <p:nvPr/>
        </p:nvSpPr>
        <p:spPr>
          <a:xfrm>
            <a:off x="6137799" y="4158863"/>
            <a:ext cx="242696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" panose="020B0504020202020204" pitchFamily="34" charset="0"/>
                <a:ea typeface="Calibri" panose="020F0502020204030204" pitchFamily="34" charset="0"/>
                <a:cs typeface="+mn-cs"/>
              </a:rPr>
              <a:t>Staff members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 Light" panose="020B0304020202020204" pitchFamily="34" charset="0"/>
                <a:ea typeface="Calibri" panose="020F0502020204030204" pitchFamily="34" charset="0"/>
                <a:cs typeface="+mn-cs"/>
              </a:rPr>
              <a:t>of all service providers using </a:t>
            </a:r>
            <a:r>
              <a:rPr kumimoji="0" lang="en-A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 Light" panose="020B0304020202020204" pitchFamily="34" charset="0"/>
                <a:ea typeface="Calibri" panose="020F0502020204030204" pitchFamily="34" charset="0"/>
                <a:cs typeface="+mn-cs"/>
              </a:rPr>
              <a:t>ESSweb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 Light" panose="020B0304020202020204" pitchFamily="34" charset="0"/>
                <a:ea typeface="Calibri" panose="020F0502020204030204" pitchFamily="34" charset="0"/>
                <a:cs typeface="+mn-cs"/>
              </a:rPr>
              <a:t> will need to 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" panose="020B0504020202020204" pitchFamily="34" charset="0"/>
                <a:ea typeface="Calibri" panose="020F0502020204030204" pitchFamily="34" charset="0"/>
                <a:cs typeface="+mn-cs"/>
              </a:rPr>
              <a:t>register </a:t>
            </a:r>
            <a:r>
              <a:rPr kumimoji="0" lang="en-AU" sz="1100" b="1" i="1" u="none" strike="noStrike" kern="1200" cap="none" spc="0" normalizeH="0" baseline="0" noProof="0" dirty="0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" panose="020B0504020202020204" pitchFamily="34" charset="0"/>
                <a:ea typeface="Calibri" panose="020F0502020204030204" pitchFamily="34" charset="0"/>
                <a:cs typeface="+mn-cs"/>
              </a:rPr>
              <a:t>as individuals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004F9E"/>
                </a:solidFill>
                <a:effectLst/>
                <a:uLnTx/>
                <a:uFillTx/>
                <a:latin typeface="Arial Nova Light" panose="020B0304020202020204" pitchFamily="34" charset="0"/>
                <a:ea typeface="Calibri" panose="020F0502020204030204" pitchFamily="34" charset="0"/>
                <a:cs typeface="+mn-cs"/>
              </a:rPr>
              <a:t>.</a:t>
            </a: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rgbClr val="004F9E"/>
              </a:solidFill>
              <a:effectLst/>
              <a:uLnTx/>
              <a:uFillTx/>
              <a:latin typeface="Arial Nova Light" panose="020B0304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A75679-B88F-407C-83F6-91EFC2453810}"/>
              </a:ext>
            </a:extLst>
          </p:cNvPr>
          <p:cNvSpPr/>
          <p:nvPr/>
        </p:nvSpPr>
        <p:spPr>
          <a:xfrm>
            <a:off x="177644" y="396124"/>
            <a:ext cx="2207883" cy="10336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2 million business user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already use myGovID to access 76+ Government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66DC8A-6223-44B6-B496-FE8C408824A3}"/>
              </a:ext>
            </a:extLst>
          </p:cNvPr>
          <p:cNvSpPr/>
          <p:nvPr/>
        </p:nvSpPr>
        <p:spPr>
          <a:xfrm>
            <a:off x="6339962" y="703268"/>
            <a:ext cx="229911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A </a:t>
            </a: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Calibri" panose="020F0502020204030204" pitchFamily="34" charset="0"/>
                <a:cs typeface="+mn-cs"/>
              </a:rPr>
              <a:t>more flexible, streamlined and secure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srgbClr val="003B3F"/>
              </a:solidFill>
              <a:effectLst/>
              <a:uLnTx/>
              <a:uFillTx/>
              <a:latin typeface="Arial Nova" panose="020B050402020202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Calibri" panose="020F0502020204030204" pitchFamily="34" charset="0"/>
                <a:cs typeface="+mn-cs"/>
              </a:rPr>
              <a:t>way to access online Government services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008276"/>
              </a:solidFill>
              <a:effectLst/>
              <a:uLnTx/>
              <a:uFillTx/>
              <a:latin typeface="Arial Nova" panose="020B050402020202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D0E228-FF4A-4A4B-B9CA-166AE6CB24C9}"/>
              </a:ext>
            </a:extLst>
          </p:cNvPr>
          <p:cNvSpPr/>
          <p:nvPr/>
        </p:nvSpPr>
        <p:spPr>
          <a:xfrm>
            <a:off x="6486147" y="2020717"/>
            <a:ext cx="20067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08E82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anose="020B0604020202020204" pitchFamily="34" charset="0"/>
              </a:rPr>
              <a:t>Enables us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anose="020B0604020202020204" pitchFamily="34" charset="0"/>
              </a:rPr>
              <a:t>maintain community confidenc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108E82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CDAA76-6C84-4DCE-A8E0-407ED3D2D1E6}"/>
              </a:ext>
            </a:extLst>
          </p:cNvPr>
          <p:cNvCxnSpPr>
            <a:cxnSpLocks/>
          </p:cNvCxnSpPr>
          <p:nvPr/>
        </p:nvCxnSpPr>
        <p:spPr>
          <a:xfrm>
            <a:off x="2498049" y="1010291"/>
            <a:ext cx="433335" cy="100699"/>
          </a:xfrm>
          <a:prstGeom prst="line">
            <a:avLst/>
          </a:prstGeom>
          <a:ln w="6350">
            <a:solidFill>
              <a:srgbClr val="3DF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0C954ED-1109-44DC-9CC7-2BBA5181B694}"/>
              </a:ext>
            </a:extLst>
          </p:cNvPr>
          <p:cNvCxnSpPr>
            <a:cxnSpLocks/>
          </p:cNvCxnSpPr>
          <p:nvPr/>
        </p:nvCxnSpPr>
        <p:spPr>
          <a:xfrm flipV="1">
            <a:off x="5727064" y="1136731"/>
            <a:ext cx="515265" cy="130867"/>
          </a:xfrm>
          <a:prstGeom prst="line">
            <a:avLst/>
          </a:prstGeom>
          <a:ln w="6350">
            <a:solidFill>
              <a:srgbClr val="3DF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19A08B5-30E8-411C-B75B-903934E838BB}"/>
              </a:ext>
            </a:extLst>
          </p:cNvPr>
          <p:cNvCxnSpPr>
            <a:cxnSpLocks/>
          </p:cNvCxnSpPr>
          <p:nvPr/>
        </p:nvCxnSpPr>
        <p:spPr>
          <a:xfrm>
            <a:off x="5940152" y="2186749"/>
            <a:ext cx="465841" cy="71330"/>
          </a:xfrm>
          <a:prstGeom prst="line">
            <a:avLst/>
          </a:prstGeom>
          <a:ln w="6350">
            <a:solidFill>
              <a:srgbClr val="3DF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 descr="Icon&#10;&#10;Description automatically generated">
            <a:extLst>
              <a:ext uri="{FF2B5EF4-FFF2-40B4-BE49-F238E27FC236}">
                <a16:creationId xmlns:a16="http://schemas.microsoft.com/office/drawing/2014/main" id="{140A7D2D-B0B8-4048-96D6-067FDCC2599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982" y="3348313"/>
            <a:ext cx="605577" cy="605577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590CFA2C-912F-40D3-817A-4C54AE6F0B5B}"/>
              </a:ext>
            </a:extLst>
          </p:cNvPr>
          <p:cNvSpPr/>
          <p:nvPr/>
        </p:nvSpPr>
        <p:spPr>
          <a:xfrm>
            <a:off x="242880" y="2127581"/>
            <a:ext cx="1584176" cy="920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Aligns wit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008276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whole of Government Digital Transformation Strategy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BFCDA3C-AC9B-46DF-8C1B-A6BB2A13CAFB}"/>
              </a:ext>
            </a:extLst>
          </p:cNvPr>
          <p:cNvCxnSpPr>
            <a:cxnSpLocks/>
          </p:cNvCxnSpPr>
          <p:nvPr/>
        </p:nvCxnSpPr>
        <p:spPr>
          <a:xfrm flipV="1">
            <a:off x="1921648" y="2129405"/>
            <a:ext cx="406581" cy="91798"/>
          </a:xfrm>
          <a:prstGeom prst="line">
            <a:avLst/>
          </a:prstGeom>
          <a:ln w="6350">
            <a:solidFill>
              <a:srgbClr val="3DF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976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>
            <a:extLst>
              <a:ext uri="{FF2B5EF4-FFF2-40B4-BE49-F238E27FC236}">
                <a16:creationId xmlns:a16="http://schemas.microsoft.com/office/drawing/2014/main" id="{EB08B885-4FD4-4E06-AA8D-2EDDC29A8BB3}"/>
              </a:ext>
            </a:extLst>
          </p:cNvPr>
          <p:cNvSpPr/>
          <p:nvPr/>
        </p:nvSpPr>
        <p:spPr>
          <a:xfrm>
            <a:off x="6933412" y="1885759"/>
            <a:ext cx="1674887" cy="16776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Picture 20" descr="A picture containing person, dryer, air, appliance&#10;&#10;Description automatically generated">
            <a:extLst>
              <a:ext uri="{FF2B5EF4-FFF2-40B4-BE49-F238E27FC236}">
                <a16:creationId xmlns:a16="http://schemas.microsoft.com/office/drawing/2014/main" id="{9482B641-0839-4F07-95BF-BA9BCC0B69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76" t="6712" r="19102" b="30146"/>
          <a:stretch/>
        </p:blipFill>
        <p:spPr>
          <a:xfrm flipH="1">
            <a:off x="530300" y="1936980"/>
            <a:ext cx="1674887" cy="1677631"/>
          </a:xfrm>
          <a:prstGeom prst="ellipse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1EF4DF2B-F497-44E0-94F3-83ACC4D7B3F9}"/>
              </a:ext>
            </a:extLst>
          </p:cNvPr>
          <p:cNvSpPr/>
          <p:nvPr/>
        </p:nvSpPr>
        <p:spPr>
          <a:xfrm>
            <a:off x="2639760" y="1885759"/>
            <a:ext cx="1674887" cy="1677631"/>
          </a:xfrm>
          <a:prstGeom prst="ellipse">
            <a:avLst/>
          </a:prstGeom>
          <a:solidFill>
            <a:srgbClr val="003B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12296" y="122039"/>
            <a:ext cx="6364188" cy="993775"/>
          </a:xfrm>
        </p:spPr>
        <p:txBody>
          <a:bodyPr/>
          <a:lstStyle/>
          <a:p>
            <a:r>
              <a:rPr lang="en-US" dirty="0"/>
              <a:t>Transition Timeli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F91AA9E-9E27-4516-9C94-CF024EBFDD59}"/>
              </a:ext>
            </a:extLst>
          </p:cNvPr>
          <p:cNvSpPr/>
          <p:nvPr/>
        </p:nvSpPr>
        <p:spPr>
          <a:xfrm>
            <a:off x="467744" y="3730462"/>
            <a:ext cx="1800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hase 1 (commencing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rovide inform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5FDAD5-1A1B-4627-91FD-E76056144DBA}"/>
              </a:ext>
            </a:extLst>
          </p:cNvPr>
          <p:cNvSpPr/>
          <p:nvPr/>
        </p:nvSpPr>
        <p:spPr>
          <a:xfrm>
            <a:off x="2532170" y="3730462"/>
            <a:ext cx="180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hase 2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Switch on </a:t>
            </a: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myGovI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 registra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E82EA2-1AFD-4B81-AC1B-996C23A34B76}"/>
              </a:ext>
            </a:extLst>
          </p:cNvPr>
          <p:cNvSpPr/>
          <p:nvPr/>
        </p:nvSpPr>
        <p:spPr>
          <a:xfrm>
            <a:off x="4716016" y="3730462"/>
            <a:ext cx="1800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hase 2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Legacy authentication unavailable for new registrations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0EB932-D378-4E7D-AD8D-8C860428C320}"/>
              </a:ext>
            </a:extLst>
          </p:cNvPr>
          <p:cNvSpPr/>
          <p:nvPr/>
        </p:nvSpPr>
        <p:spPr>
          <a:xfrm>
            <a:off x="6833449" y="3730462"/>
            <a:ext cx="180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hase 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Decommi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legacy authentic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CADFB6-F792-496F-A930-6E3485BB7319}"/>
              </a:ext>
            </a:extLst>
          </p:cNvPr>
          <p:cNvSpPr/>
          <p:nvPr/>
        </p:nvSpPr>
        <p:spPr>
          <a:xfrm>
            <a:off x="2826680" y="1490395"/>
            <a:ext cx="13031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1 February 202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C7CA3A-E7B2-430E-B42D-40B03DF2E14C}"/>
              </a:ext>
            </a:extLst>
          </p:cNvPr>
          <p:cNvSpPr/>
          <p:nvPr/>
        </p:nvSpPr>
        <p:spPr>
          <a:xfrm>
            <a:off x="4947760" y="1490395"/>
            <a:ext cx="14810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28 February 2022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E5848A-66EB-45BD-BDBE-FD8BFB0AD132}"/>
              </a:ext>
            </a:extLst>
          </p:cNvPr>
          <p:cNvSpPr/>
          <p:nvPr/>
        </p:nvSpPr>
        <p:spPr>
          <a:xfrm>
            <a:off x="7130495" y="1490395"/>
            <a:ext cx="12059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003B3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25 March 2022</a:t>
            </a:r>
          </a:p>
        </p:txBody>
      </p:sp>
      <p:sp>
        <p:nvSpPr>
          <p:cNvPr id="17" name="Speech Bubble: Oval 16">
            <a:extLst>
              <a:ext uri="{FF2B5EF4-FFF2-40B4-BE49-F238E27FC236}">
                <a16:creationId xmlns:a16="http://schemas.microsoft.com/office/drawing/2014/main" id="{479F05CD-9A70-43A5-84AC-BA89C979873A}"/>
              </a:ext>
            </a:extLst>
          </p:cNvPr>
          <p:cNvSpPr/>
          <p:nvPr/>
        </p:nvSpPr>
        <p:spPr>
          <a:xfrm>
            <a:off x="171221" y="998006"/>
            <a:ext cx="1272751" cy="1192567"/>
          </a:xfrm>
          <a:prstGeom prst="wedgeEllipseCallout">
            <a:avLst>
              <a:gd name="adj1" fmla="val 14673"/>
              <a:gd name="adj2" fmla="val 60782"/>
            </a:avLst>
          </a:prstGeom>
          <a:solidFill>
            <a:srgbClr val="FFCF5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8BF95B-2A60-4289-96F7-2E4BC74D1A50}"/>
              </a:ext>
            </a:extLst>
          </p:cNvPr>
          <p:cNvSpPr/>
          <p:nvPr/>
        </p:nvSpPr>
        <p:spPr>
          <a:xfrm>
            <a:off x="260939" y="1268995"/>
            <a:ext cx="118080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All Provider staff can get a </a:t>
            </a:r>
            <a:r>
              <a:rPr kumimoji="0" lang="en-A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myGovID</a:t>
            </a: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 today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764992AA-4DCB-4D5E-BF11-BB3350464E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25196" y="2375997"/>
            <a:ext cx="1504014" cy="774053"/>
          </a:xfrm>
          <a:prstGeom prst="rect">
            <a:avLst/>
          </a:prstGeom>
        </p:spPr>
      </p:pic>
      <p:pic>
        <p:nvPicPr>
          <p:cNvPr id="30" name="Picture 29" descr="A picture containing text, writing implement, stationary, pencil&#10;&#10;Description automatically generated">
            <a:extLst>
              <a:ext uri="{FF2B5EF4-FFF2-40B4-BE49-F238E27FC236}">
                <a16:creationId xmlns:a16="http://schemas.microsoft.com/office/drawing/2014/main" id="{7E9A0720-3B9E-4FF8-A35D-BEE8991DB41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grayscl/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63" r="15032"/>
          <a:stretch/>
        </p:blipFill>
        <p:spPr>
          <a:xfrm>
            <a:off x="4874224" y="1984511"/>
            <a:ext cx="1481047" cy="1483474"/>
          </a:xfrm>
          <a:prstGeom prst="ellipse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EBC8347-F53E-4F47-8207-20F5169FAB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883" y="2307836"/>
            <a:ext cx="1061943" cy="1061943"/>
          </a:xfrm>
          <a:prstGeom prst="rect">
            <a:avLst/>
          </a:prstGeom>
        </p:spPr>
      </p:pic>
      <p:sp>
        <p:nvSpPr>
          <p:cNvPr id="34" name="Arrow: Right 33">
            <a:extLst>
              <a:ext uri="{FF2B5EF4-FFF2-40B4-BE49-F238E27FC236}">
                <a16:creationId xmlns:a16="http://schemas.microsoft.com/office/drawing/2014/main" id="{8C21286C-E495-4A43-91C3-0AB87C5AA97E}"/>
              </a:ext>
            </a:extLst>
          </p:cNvPr>
          <p:cNvSpPr/>
          <p:nvPr/>
        </p:nvSpPr>
        <p:spPr>
          <a:xfrm rot="5400000">
            <a:off x="7454206" y="2182635"/>
            <a:ext cx="558484" cy="38672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58D7DFAD-9029-447B-88F2-0D1F14D2DF0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36249" y="1846076"/>
            <a:ext cx="1756995" cy="17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332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9CDC70B-9F55-4BD5-BCAE-2845CD3DC0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487" y="2267212"/>
            <a:ext cx="778669" cy="10429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1428705-9958-44FF-9740-90A1B0123E35}"/>
              </a:ext>
            </a:extLst>
          </p:cNvPr>
          <p:cNvSpPr txBox="1"/>
          <p:nvPr/>
        </p:nvSpPr>
        <p:spPr>
          <a:xfrm>
            <a:off x="2903129" y="4079264"/>
            <a:ext cx="139230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b="1" dirty="0">
                <a:solidFill>
                  <a:srgbClr val="5F6369"/>
                </a:solidFill>
              </a:rPr>
              <a:t>Identity Provid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079227-F152-461F-B21A-3695840BB481}"/>
              </a:ext>
            </a:extLst>
          </p:cNvPr>
          <p:cNvGrpSpPr/>
          <p:nvPr/>
        </p:nvGrpSpPr>
        <p:grpSpPr>
          <a:xfrm>
            <a:off x="3010611" y="2291836"/>
            <a:ext cx="1178912" cy="1294255"/>
            <a:chOff x="4036763" y="1600261"/>
            <a:chExt cx="1571882" cy="172567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0A24A68-D642-4B50-BB32-9644DA8F90CF}"/>
                </a:ext>
              </a:extLst>
            </p:cNvPr>
            <p:cNvSpPr txBox="1"/>
            <p:nvPr/>
          </p:nvSpPr>
          <p:spPr>
            <a:xfrm>
              <a:off x="4036763" y="2925824"/>
              <a:ext cx="1571882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350" dirty="0">
                  <a:solidFill>
                    <a:srgbClr val="5F6369"/>
                  </a:solidFill>
                </a:rPr>
                <a:t>Microsoft B2C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AB84189-5B6B-48A9-81E9-4E9A92401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28096" y="1600261"/>
              <a:ext cx="1325564" cy="1325564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240B5A50-69B9-4C63-8E33-DFEBB23330E2}"/>
              </a:ext>
            </a:extLst>
          </p:cNvPr>
          <p:cNvSpPr txBox="1"/>
          <p:nvPr/>
        </p:nvSpPr>
        <p:spPr>
          <a:xfrm>
            <a:off x="4993398" y="3567725"/>
            <a:ext cx="158537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dirty="0">
                <a:solidFill>
                  <a:srgbClr val="5F6369"/>
                </a:solidFill>
              </a:rPr>
              <a:t>Assigns Role Claim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BCC17E-FE34-4EFC-838F-0FC33D301E0A}"/>
              </a:ext>
            </a:extLst>
          </p:cNvPr>
          <p:cNvSpPr txBox="1"/>
          <p:nvPr/>
        </p:nvSpPr>
        <p:spPr>
          <a:xfrm>
            <a:off x="5077080" y="4079264"/>
            <a:ext cx="134575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b="1" dirty="0">
                <a:solidFill>
                  <a:srgbClr val="5F6369"/>
                </a:solidFill>
              </a:rPr>
              <a:t>Service Provid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7DA482-654F-43AA-94C5-4DBBCDEF24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1790" y="908239"/>
            <a:ext cx="1328738" cy="3714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934BF2-A9FA-4A35-8D1D-5185C4959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8224" y="2669652"/>
            <a:ext cx="1235869" cy="5643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17FEF47-8134-4B94-BED3-C1E5FD5DC9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2499" y="1717144"/>
            <a:ext cx="1407319" cy="55006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9BCCD54-5020-4AAE-B24E-3D586E13F4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42499" y="3651785"/>
            <a:ext cx="1407319" cy="47079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1A90751-0D42-426C-8569-072582797AE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06817" y="4502736"/>
            <a:ext cx="878681" cy="385763"/>
          </a:xfrm>
          <a:prstGeom prst="rect">
            <a:avLst/>
          </a:prstGeom>
        </p:spPr>
      </p:pic>
      <p:cxnSp>
        <p:nvCxnSpPr>
          <p:cNvPr id="19" name="Connector: Elbow 19">
            <a:extLst>
              <a:ext uri="{FF2B5EF4-FFF2-40B4-BE49-F238E27FC236}">
                <a16:creationId xmlns:a16="http://schemas.microsoft.com/office/drawing/2014/main" id="{837DAB8B-6A77-4E87-96B8-1CB8E555F120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>
            <a:off x="1609156" y="2788706"/>
            <a:ext cx="1469955" cy="217"/>
          </a:xfrm>
          <a:prstGeom prst="bentConnector3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29">
            <a:extLst>
              <a:ext uri="{FF2B5EF4-FFF2-40B4-BE49-F238E27FC236}">
                <a16:creationId xmlns:a16="http://schemas.microsoft.com/office/drawing/2014/main" id="{C80363A2-C1AB-415B-92C7-CE0A838FB3B7}"/>
              </a:ext>
            </a:extLst>
          </p:cNvPr>
          <p:cNvCxnSpPr>
            <a:cxnSpLocks/>
            <a:stCxn id="11" idx="3"/>
            <a:endCxn id="21" idx="1"/>
          </p:cNvCxnSpPr>
          <p:nvPr/>
        </p:nvCxnSpPr>
        <p:spPr>
          <a:xfrm flipV="1">
            <a:off x="4073284" y="2788706"/>
            <a:ext cx="1421609" cy="217"/>
          </a:xfrm>
          <a:prstGeom prst="bentConnector3">
            <a:avLst>
              <a:gd name="adj1" fmla="val 50000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17B2E678-F2C4-4E12-93C6-11C45F3FDB3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94893" y="2649403"/>
            <a:ext cx="464344" cy="278606"/>
          </a:xfrm>
          <a:prstGeom prst="rect">
            <a:avLst/>
          </a:prstGeom>
        </p:spPr>
      </p:pic>
      <p:cxnSp>
        <p:nvCxnSpPr>
          <p:cNvPr id="22" name="Connector: Elbow 36">
            <a:extLst>
              <a:ext uri="{FF2B5EF4-FFF2-40B4-BE49-F238E27FC236}">
                <a16:creationId xmlns:a16="http://schemas.microsoft.com/office/drawing/2014/main" id="{6210A3EF-0690-4A1C-B136-374094359B43}"/>
              </a:ext>
            </a:extLst>
          </p:cNvPr>
          <p:cNvCxnSpPr>
            <a:cxnSpLocks/>
            <a:stCxn id="21" idx="3"/>
            <a:endCxn id="14" idx="1"/>
          </p:cNvCxnSpPr>
          <p:nvPr/>
        </p:nvCxnSpPr>
        <p:spPr>
          <a:xfrm flipV="1">
            <a:off x="5959237" y="1093977"/>
            <a:ext cx="1522553" cy="1694729"/>
          </a:xfrm>
          <a:prstGeom prst="bentConnector3">
            <a:avLst>
              <a:gd name="adj1" fmla="val 50000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39">
            <a:extLst>
              <a:ext uri="{FF2B5EF4-FFF2-40B4-BE49-F238E27FC236}">
                <a16:creationId xmlns:a16="http://schemas.microsoft.com/office/drawing/2014/main" id="{8734E9CF-45C3-419D-8E28-2CAAC093A7CD}"/>
              </a:ext>
            </a:extLst>
          </p:cNvPr>
          <p:cNvCxnSpPr>
            <a:cxnSpLocks/>
            <a:stCxn id="21" idx="3"/>
            <a:endCxn id="16" idx="1"/>
          </p:cNvCxnSpPr>
          <p:nvPr/>
        </p:nvCxnSpPr>
        <p:spPr>
          <a:xfrm flipV="1">
            <a:off x="5959237" y="1992179"/>
            <a:ext cx="1483262" cy="796528"/>
          </a:xfrm>
          <a:prstGeom prst="bentConnector3">
            <a:avLst>
              <a:gd name="adj1" fmla="val 51401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43">
            <a:extLst>
              <a:ext uri="{FF2B5EF4-FFF2-40B4-BE49-F238E27FC236}">
                <a16:creationId xmlns:a16="http://schemas.microsoft.com/office/drawing/2014/main" id="{788BEC8D-6C71-4F18-977B-12048A31BABC}"/>
              </a:ext>
            </a:extLst>
          </p:cNvPr>
          <p:cNvCxnSpPr>
            <a:cxnSpLocks/>
            <a:stCxn id="21" idx="3"/>
            <a:endCxn id="15" idx="1"/>
          </p:cNvCxnSpPr>
          <p:nvPr/>
        </p:nvCxnSpPr>
        <p:spPr>
          <a:xfrm>
            <a:off x="5959237" y="2788706"/>
            <a:ext cx="1568987" cy="163124"/>
          </a:xfrm>
          <a:prstGeom prst="bentConnector3">
            <a:avLst>
              <a:gd name="adj1" fmla="val 48675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48">
            <a:extLst>
              <a:ext uri="{FF2B5EF4-FFF2-40B4-BE49-F238E27FC236}">
                <a16:creationId xmlns:a16="http://schemas.microsoft.com/office/drawing/2014/main" id="{953D664F-A146-4187-AD3A-BAC2F2260E46}"/>
              </a:ext>
            </a:extLst>
          </p:cNvPr>
          <p:cNvCxnSpPr>
            <a:cxnSpLocks/>
            <a:stCxn id="21" idx="3"/>
            <a:endCxn id="17" idx="1"/>
          </p:cNvCxnSpPr>
          <p:nvPr/>
        </p:nvCxnSpPr>
        <p:spPr>
          <a:xfrm>
            <a:off x="5959237" y="2788707"/>
            <a:ext cx="1483262" cy="1098476"/>
          </a:xfrm>
          <a:prstGeom prst="bentConnector3">
            <a:avLst>
              <a:gd name="adj1" fmla="val 51401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54">
            <a:extLst>
              <a:ext uri="{FF2B5EF4-FFF2-40B4-BE49-F238E27FC236}">
                <a16:creationId xmlns:a16="http://schemas.microsoft.com/office/drawing/2014/main" id="{4E6B2B63-A80F-43B8-A692-9B4333C0D7A5}"/>
              </a:ext>
            </a:extLst>
          </p:cNvPr>
          <p:cNvCxnSpPr>
            <a:cxnSpLocks/>
            <a:stCxn id="21" idx="3"/>
            <a:endCxn id="18" idx="1"/>
          </p:cNvCxnSpPr>
          <p:nvPr/>
        </p:nvCxnSpPr>
        <p:spPr>
          <a:xfrm>
            <a:off x="5959237" y="2788706"/>
            <a:ext cx="1747580" cy="1906911"/>
          </a:xfrm>
          <a:prstGeom prst="bentConnector3">
            <a:avLst>
              <a:gd name="adj1" fmla="val 44054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F7776AB-D926-4B4E-B736-74B12635DC7B}"/>
              </a:ext>
            </a:extLst>
          </p:cNvPr>
          <p:cNvSpPr txBox="1"/>
          <p:nvPr/>
        </p:nvSpPr>
        <p:spPr>
          <a:xfrm>
            <a:off x="2806009" y="3562791"/>
            <a:ext cx="16556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dirty="0">
                <a:solidFill>
                  <a:srgbClr val="5F6369"/>
                </a:solidFill>
              </a:rPr>
              <a:t>Verifies User Ident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74D6C2-D4BA-4ACA-88BA-EC652B2E763F}"/>
              </a:ext>
            </a:extLst>
          </p:cNvPr>
          <p:cNvSpPr txBox="1"/>
          <p:nvPr/>
        </p:nvSpPr>
        <p:spPr>
          <a:xfrm>
            <a:off x="672050" y="3567725"/>
            <a:ext cx="114448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dirty="0">
                <a:solidFill>
                  <a:srgbClr val="5F6369"/>
                </a:solidFill>
              </a:rPr>
              <a:t>Provider User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FC2CE0F-7405-F640-A9B7-786686E33C53}"/>
              </a:ext>
            </a:extLst>
          </p:cNvPr>
          <p:cNvSpPr txBox="1">
            <a:spLocks/>
          </p:cNvSpPr>
          <p:nvPr/>
        </p:nvSpPr>
        <p:spPr>
          <a:xfrm>
            <a:off x="389894" y="501644"/>
            <a:ext cx="7670739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2970">
              <a:buSzPct val="120000"/>
              <a:tabLst>
                <a:tab pos="87176" algn="l"/>
              </a:tabLst>
            </a:pP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How does the current Authentication work?</a:t>
            </a:r>
            <a:endParaRPr lang="en-US" sz="2400" b="1" dirty="0">
              <a:solidFill>
                <a:srgbClr val="002D3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795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9CDC70B-9F55-4BD5-BCAE-2845CD3DC0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487" y="2267212"/>
            <a:ext cx="778669" cy="10429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1428705-9958-44FF-9740-90A1B0123E35}"/>
              </a:ext>
            </a:extLst>
          </p:cNvPr>
          <p:cNvSpPr txBox="1"/>
          <p:nvPr/>
        </p:nvSpPr>
        <p:spPr>
          <a:xfrm>
            <a:off x="2806009" y="1615717"/>
            <a:ext cx="139230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b="1" dirty="0">
                <a:solidFill>
                  <a:srgbClr val="5F6369"/>
                </a:solidFill>
              </a:rPr>
              <a:t>Identity Provid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0B5A50-69B9-4C63-8E33-DFEBB23330E2}"/>
              </a:ext>
            </a:extLst>
          </p:cNvPr>
          <p:cNvSpPr txBox="1"/>
          <p:nvPr/>
        </p:nvSpPr>
        <p:spPr>
          <a:xfrm>
            <a:off x="4993398" y="3567725"/>
            <a:ext cx="158537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dirty="0">
                <a:solidFill>
                  <a:srgbClr val="5F6369"/>
                </a:solidFill>
              </a:rPr>
              <a:t>Assigns Role Claim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BCC17E-FE34-4EFC-838F-0FC33D301E0A}"/>
              </a:ext>
            </a:extLst>
          </p:cNvPr>
          <p:cNvSpPr txBox="1"/>
          <p:nvPr/>
        </p:nvSpPr>
        <p:spPr>
          <a:xfrm>
            <a:off x="4945689" y="1615717"/>
            <a:ext cx="134575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b="1" dirty="0">
                <a:solidFill>
                  <a:srgbClr val="5F6369"/>
                </a:solidFill>
              </a:rPr>
              <a:t>Service Provid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7DA482-654F-43AA-94C5-4DBBCDEF24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1790" y="908239"/>
            <a:ext cx="1328738" cy="3714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934BF2-A9FA-4A35-8D1D-5185C49595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8224" y="2669652"/>
            <a:ext cx="1235869" cy="56435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17FEF47-8134-4B94-BED3-C1E5FD5DC9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2499" y="1717144"/>
            <a:ext cx="1407319" cy="5500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9BCCD54-5020-4AAE-B24E-3D586E13F4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2499" y="3651785"/>
            <a:ext cx="1407319" cy="47079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1A90751-0D42-426C-8569-072582797A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06817" y="4502736"/>
            <a:ext cx="878681" cy="385763"/>
          </a:xfrm>
          <a:prstGeom prst="rect">
            <a:avLst/>
          </a:prstGeom>
        </p:spPr>
      </p:pic>
      <p:cxnSp>
        <p:nvCxnSpPr>
          <p:cNvPr id="16" name="Connector: Elbow 19">
            <a:extLst>
              <a:ext uri="{FF2B5EF4-FFF2-40B4-BE49-F238E27FC236}">
                <a16:creationId xmlns:a16="http://schemas.microsoft.com/office/drawing/2014/main" id="{837DAB8B-6A77-4E87-96B8-1CB8E555F120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1609156" y="2788706"/>
            <a:ext cx="1469954" cy="217"/>
          </a:xfrm>
          <a:prstGeom prst="bentConnector3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29">
            <a:extLst>
              <a:ext uri="{FF2B5EF4-FFF2-40B4-BE49-F238E27FC236}">
                <a16:creationId xmlns:a16="http://schemas.microsoft.com/office/drawing/2014/main" id="{C80363A2-C1AB-415B-92C7-CE0A838FB3B7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4073283" y="2788706"/>
            <a:ext cx="1421611" cy="217"/>
          </a:xfrm>
          <a:prstGeom prst="bentConnector3">
            <a:avLst>
              <a:gd name="adj1" fmla="val 50000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7B2E678-F2C4-4E12-93C6-11C45F3FDB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94893" y="2649403"/>
            <a:ext cx="464344" cy="278606"/>
          </a:xfrm>
          <a:prstGeom prst="rect">
            <a:avLst/>
          </a:prstGeom>
        </p:spPr>
      </p:pic>
      <p:cxnSp>
        <p:nvCxnSpPr>
          <p:cNvPr id="19" name="Connector: Elbow 36">
            <a:extLst>
              <a:ext uri="{FF2B5EF4-FFF2-40B4-BE49-F238E27FC236}">
                <a16:creationId xmlns:a16="http://schemas.microsoft.com/office/drawing/2014/main" id="{6210A3EF-0690-4A1C-B136-374094359B43}"/>
              </a:ext>
            </a:extLst>
          </p:cNvPr>
          <p:cNvCxnSpPr>
            <a:cxnSpLocks/>
            <a:stCxn id="18" idx="3"/>
            <a:endCxn id="11" idx="1"/>
          </p:cNvCxnSpPr>
          <p:nvPr/>
        </p:nvCxnSpPr>
        <p:spPr>
          <a:xfrm flipV="1">
            <a:off x="5959237" y="1093977"/>
            <a:ext cx="1522553" cy="1694729"/>
          </a:xfrm>
          <a:prstGeom prst="bentConnector3">
            <a:avLst>
              <a:gd name="adj1" fmla="val 50000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39">
            <a:extLst>
              <a:ext uri="{FF2B5EF4-FFF2-40B4-BE49-F238E27FC236}">
                <a16:creationId xmlns:a16="http://schemas.microsoft.com/office/drawing/2014/main" id="{8734E9CF-45C3-419D-8E28-2CAAC093A7CD}"/>
              </a:ext>
            </a:extLst>
          </p:cNvPr>
          <p:cNvCxnSpPr>
            <a:cxnSpLocks/>
            <a:stCxn id="18" idx="3"/>
            <a:endCxn id="13" idx="1"/>
          </p:cNvCxnSpPr>
          <p:nvPr/>
        </p:nvCxnSpPr>
        <p:spPr>
          <a:xfrm flipV="1">
            <a:off x="5959237" y="1992179"/>
            <a:ext cx="1483262" cy="796528"/>
          </a:xfrm>
          <a:prstGeom prst="bentConnector3">
            <a:avLst>
              <a:gd name="adj1" fmla="val 51401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43">
            <a:extLst>
              <a:ext uri="{FF2B5EF4-FFF2-40B4-BE49-F238E27FC236}">
                <a16:creationId xmlns:a16="http://schemas.microsoft.com/office/drawing/2014/main" id="{788BEC8D-6C71-4F18-977B-12048A31BABC}"/>
              </a:ext>
            </a:extLst>
          </p:cNvPr>
          <p:cNvCxnSpPr>
            <a:cxnSpLocks/>
            <a:stCxn id="18" idx="3"/>
            <a:endCxn id="12" idx="1"/>
          </p:cNvCxnSpPr>
          <p:nvPr/>
        </p:nvCxnSpPr>
        <p:spPr>
          <a:xfrm>
            <a:off x="5959237" y="2788706"/>
            <a:ext cx="1568987" cy="163124"/>
          </a:xfrm>
          <a:prstGeom prst="bentConnector3">
            <a:avLst>
              <a:gd name="adj1" fmla="val 48675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48">
            <a:extLst>
              <a:ext uri="{FF2B5EF4-FFF2-40B4-BE49-F238E27FC236}">
                <a16:creationId xmlns:a16="http://schemas.microsoft.com/office/drawing/2014/main" id="{953D664F-A146-4187-AD3A-BAC2F2260E46}"/>
              </a:ext>
            </a:extLst>
          </p:cNvPr>
          <p:cNvCxnSpPr>
            <a:cxnSpLocks/>
            <a:stCxn id="18" idx="3"/>
            <a:endCxn id="14" idx="1"/>
          </p:cNvCxnSpPr>
          <p:nvPr/>
        </p:nvCxnSpPr>
        <p:spPr>
          <a:xfrm>
            <a:off x="5959237" y="2788707"/>
            <a:ext cx="1483262" cy="1098476"/>
          </a:xfrm>
          <a:prstGeom prst="bentConnector3">
            <a:avLst>
              <a:gd name="adj1" fmla="val 51401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54">
            <a:extLst>
              <a:ext uri="{FF2B5EF4-FFF2-40B4-BE49-F238E27FC236}">
                <a16:creationId xmlns:a16="http://schemas.microsoft.com/office/drawing/2014/main" id="{4E6B2B63-A80F-43B8-A692-9B4333C0D7A5}"/>
              </a:ext>
            </a:extLst>
          </p:cNvPr>
          <p:cNvCxnSpPr>
            <a:cxnSpLocks/>
            <a:stCxn id="18" idx="3"/>
            <a:endCxn id="15" idx="1"/>
          </p:cNvCxnSpPr>
          <p:nvPr/>
        </p:nvCxnSpPr>
        <p:spPr>
          <a:xfrm>
            <a:off x="5959237" y="2788706"/>
            <a:ext cx="1747580" cy="1906911"/>
          </a:xfrm>
          <a:prstGeom prst="bentConnector3">
            <a:avLst>
              <a:gd name="adj1" fmla="val 44054"/>
            </a:avLst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F7776AB-D926-4B4E-B736-74B12635DC7B}"/>
              </a:ext>
            </a:extLst>
          </p:cNvPr>
          <p:cNvSpPr txBox="1"/>
          <p:nvPr/>
        </p:nvSpPr>
        <p:spPr>
          <a:xfrm>
            <a:off x="2806009" y="3562791"/>
            <a:ext cx="16556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dirty="0">
                <a:solidFill>
                  <a:srgbClr val="5F6369"/>
                </a:solidFill>
              </a:rPr>
              <a:t>Verifies User Ident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74D6C2-D4BA-4ACA-88BA-EC652B2E763F}"/>
              </a:ext>
            </a:extLst>
          </p:cNvPr>
          <p:cNvSpPr txBox="1"/>
          <p:nvPr/>
        </p:nvSpPr>
        <p:spPr>
          <a:xfrm>
            <a:off x="672050" y="3567725"/>
            <a:ext cx="114448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0" dirty="0">
                <a:solidFill>
                  <a:srgbClr val="5F6369"/>
                </a:solidFill>
              </a:rPr>
              <a:t>Provider User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3A1B6B6-39CD-4766-8934-A2572AE70D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64835" y="2405332"/>
            <a:ext cx="814388" cy="828675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F9BA45B8-6607-2249-B692-78B579ADAEF1}"/>
              </a:ext>
            </a:extLst>
          </p:cNvPr>
          <p:cNvSpPr txBox="1">
            <a:spLocks/>
          </p:cNvSpPr>
          <p:nvPr/>
        </p:nvSpPr>
        <p:spPr>
          <a:xfrm>
            <a:off x="389894" y="420448"/>
            <a:ext cx="7670739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2970">
              <a:buSzPct val="120000"/>
              <a:tabLst>
                <a:tab pos="87176" algn="l"/>
              </a:tabLst>
            </a:pP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How will </a:t>
            </a:r>
            <a:r>
              <a:rPr lang="en-AU" sz="2400" b="1" dirty="0" err="1">
                <a:solidFill>
                  <a:srgbClr val="002D3F"/>
                </a:solidFill>
                <a:latin typeface="Arial Nova" panose="020B0504020202020204" pitchFamily="34" charset="0"/>
              </a:rPr>
              <a:t>myGovID</a:t>
            </a: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 work?</a:t>
            </a:r>
            <a:endParaRPr lang="en-US" sz="2400" b="1" dirty="0">
              <a:solidFill>
                <a:srgbClr val="002D3F"/>
              </a:solidFill>
              <a:latin typeface="Arial Nova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3688E9-0575-436E-963C-F86EE3561635}"/>
              </a:ext>
            </a:extLst>
          </p:cNvPr>
          <p:cNvSpPr txBox="1"/>
          <p:nvPr/>
        </p:nvSpPr>
        <p:spPr>
          <a:xfrm>
            <a:off x="536713" y="4502736"/>
            <a:ext cx="562554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350" b="1" dirty="0">
                <a:solidFill>
                  <a:srgbClr val="5F6369"/>
                </a:solidFill>
              </a:rPr>
              <a:t>A Standard identity strength </a:t>
            </a:r>
            <a:r>
              <a:rPr lang="en-AU" sz="1350" b="1" dirty="0" err="1">
                <a:solidFill>
                  <a:srgbClr val="5F6369"/>
                </a:solidFill>
              </a:rPr>
              <a:t>myGovID</a:t>
            </a:r>
            <a:r>
              <a:rPr lang="en-AU" sz="1350" b="1" dirty="0">
                <a:solidFill>
                  <a:srgbClr val="5F6369"/>
                </a:solidFill>
              </a:rPr>
              <a:t> is required for ESS</a:t>
            </a:r>
          </a:p>
        </p:txBody>
      </p:sp>
    </p:spTree>
    <p:extLst>
      <p:ext uri="{BB962C8B-B14F-4D97-AF65-F5344CB8AC3E}">
        <p14:creationId xmlns:p14="http://schemas.microsoft.com/office/powerpoint/2010/main" val="2666708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>
            <a:extLst>
              <a:ext uri="{FF2B5EF4-FFF2-40B4-BE49-F238E27FC236}">
                <a16:creationId xmlns:a16="http://schemas.microsoft.com/office/drawing/2014/main" id="{104541FC-4DFC-48C1-92DC-00817DA11506}"/>
              </a:ext>
            </a:extLst>
          </p:cNvPr>
          <p:cNvSpPr/>
          <p:nvPr/>
        </p:nvSpPr>
        <p:spPr>
          <a:xfrm>
            <a:off x="6487716" y="2449357"/>
            <a:ext cx="1987820" cy="536314"/>
          </a:xfrm>
          <a:prstGeom prst="rect">
            <a:avLst/>
          </a:prstGeom>
          <a:solidFill>
            <a:srgbClr val="73C3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8EBFF25-D9BF-4113-A7AD-C5E032DD026F}"/>
              </a:ext>
            </a:extLst>
          </p:cNvPr>
          <p:cNvSpPr/>
          <p:nvPr/>
        </p:nvSpPr>
        <p:spPr>
          <a:xfrm>
            <a:off x="6487716" y="3086803"/>
            <a:ext cx="1987820" cy="536314"/>
          </a:xfrm>
          <a:prstGeom prst="rect">
            <a:avLst/>
          </a:prstGeom>
          <a:solidFill>
            <a:srgbClr val="73C3BC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2ECB640-C067-4F07-B6BE-53BF69AC2E78}"/>
              </a:ext>
            </a:extLst>
          </p:cNvPr>
          <p:cNvSpPr/>
          <p:nvPr/>
        </p:nvSpPr>
        <p:spPr>
          <a:xfrm>
            <a:off x="6487716" y="3742710"/>
            <a:ext cx="1987820" cy="53631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7FA5C152-8F22-40BD-8FC3-8AB3C405F630}"/>
              </a:ext>
            </a:extLst>
          </p:cNvPr>
          <p:cNvGrpSpPr/>
          <p:nvPr/>
        </p:nvGrpSpPr>
        <p:grpSpPr>
          <a:xfrm>
            <a:off x="3635196" y="2364960"/>
            <a:ext cx="1980000" cy="1980000"/>
            <a:chOff x="2627894" y="2882667"/>
            <a:chExt cx="507024" cy="507024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764B1F6B-35AD-45BE-BD7F-BF843C3FD583}"/>
                </a:ext>
              </a:extLst>
            </p:cNvPr>
            <p:cNvSpPr/>
            <p:nvPr/>
          </p:nvSpPr>
          <p:spPr>
            <a:xfrm>
              <a:off x="2627894" y="2882667"/>
              <a:ext cx="507024" cy="507024"/>
            </a:xfrm>
            <a:prstGeom prst="ellipse">
              <a:avLst/>
            </a:prstGeom>
            <a:solidFill>
              <a:srgbClr val="73C3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pic>
          <p:nvPicPr>
            <p:cNvPr id="75" name="Graphic 74" descr="Fingerprint">
              <a:extLst>
                <a:ext uri="{FF2B5EF4-FFF2-40B4-BE49-F238E27FC236}">
                  <a16:creationId xmlns:a16="http://schemas.microsoft.com/office/drawing/2014/main" id="{B703E5D7-9128-4A8C-8EE9-44EA8203F9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01392" y="2950920"/>
              <a:ext cx="370518" cy="370518"/>
            </a:xfrm>
            <a:prstGeom prst="rect">
              <a:avLst/>
            </a:prstGeom>
          </p:spPr>
        </p:pic>
      </p:grpSp>
      <p:pic>
        <p:nvPicPr>
          <p:cNvPr id="72" name="Picture 71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4036FD89-46F2-4E8D-A4CF-276F21E435E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9" b="5909"/>
          <a:stretch/>
        </p:blipFill>
        <p:spPr>
          <a:xfrm>
            <a:off x="830545" y="2364960"/>
            <a:ext cx="1980000" cy="1980000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46C9A86C-698C-4B47-997B-BED9653E3941}"/>
              </a:ext>
            </a:extLst>
          </p:cNvPr>
          <p:cNvSpPr txBox="1">
            <a:spLocks/>
          </p:cNvSpPr>
          <p:nvPr/>
        </p:nvSpPr>
        <p:spPr>
          <a:xfrm>
            <a:off x="185068" y="422600"/>
            <a:ext cx="7670739" cy="461665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What is Relationship Authorisation Manager (RAM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F95B7B-BAD0-4F8A-8B9E-326AC0BFF1CD}"/>
              </a:ext>
            </a:extLst>
          </p:cNvPr>
          <p:cNvSpPr/>
          <p:nvPr/>
        </p:nvSpPr>
        <p:spPr>
          <a:xfrm>
            <a:off x="428626" y="1163202"/>
            <a:ext cx="264955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AU" sz="1400" dirty="0">
                <a:solidFill>
                  <a:prstClr val="black"/>
                </a:solidFill>
                <a:latin typeface="Arial Nova" panose="020B0504020202020204" pitchFamily="34" charset="0"/>
              </a:rPr>
              <a:t>Allows </a:t>
            </a:r>
            <a:r>
              <a:rPr lang="en-AU" sz="1400" b="1" dirty="0">
                <a:solidFill>
                  <a:prstClr val="black"/>
                </a:solidFill>
                <a:latin typeface="Arial Nova" panose="020B0504020202020204" pitchFamily="34" charset="0"/>
              </a:rPr>
              <a:t>a provider</a:t>
            </a:r>
            <a:r>
              <a:rPr lang="en-AU" sz="1400" dirty="0">
                <a:solidFill>
                  <a:prstClr val="black"/>
                </a:solidFill>
                <a:latin typeface="Arial Nova" panose="020B0504020202020204" pitchFamily="34" charset="0"/>
              </a:rPr>
              <a:t> to determine who can act on behalf of their business on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B18D4E2-A0B9-46B3-B930-7ACBE7B0E0BB}"/>
              </a:ext>
            </a:extLst>
          </p:cNvPr>
          <p:cNvSpPr/>
          <p:nvPr/>
        </p:nvSpPr>
        <p:spPr>
          <a:xfrm>
            <a:off x="3487952" y="1163202"/>
            <a:ext cx="2268661" cy="766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en-AU" sz="1400" dirty="0">
                <a:solidFill>
                  <a:prstClr val="black"/>
                </a:solidFill>
                <a:latin typeface="Arial Nova" panose="020B0504020202020204" pitchFamily="34" charset="0"/>
              </a:rPr>
              <a:t>Authentication service provided by the Australian Government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7EE5A99-DB93-49D4-B759-DEB10E531E4B}"/>
              </a:ext>
            </a:extLst>
          </p:cNvPr>
          <p:cNvSpPr/>
          <p:nvPr/>
        </p:nvSpPr>
        <p:spPr>
          <a:xfrm>
            <a:off x="6255690" y="1289560"/>
            <a:ext cx="2268661" cy="3057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AU" sz="1400" dirty="0">
                <a:solidFill>
                  <a:srgbClr val="50535A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Three levels </a:t>
            </a:r>
            <a:r>
              <a:rPr lang="en-AU" sz="1400" dirty="0">
                <a:solidFill>
                  <a:prstClr val="black"/>
                </a:solidFill>
                <a:latin typeface="Arial Nova" panose="020B0504020202020204" pitchFamily="34" charset="0"/>
              </a:rPr>
              <a:t>of</a:t>
            </a:r>
            <a:r>
              <a:rPr lang="en-AU" sz="1400" dirty="0">
                <a:solidFill>
                  <a:srgbClr val="50535A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 acces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038142FB-B334-4BDF-B2C1-BF1B5D83B86B}"/>
              </a:ext>
            </a:extLst>
          </p:cNvPr>
          <p:cNvCxnSpPr>
            <a:cxnSpLocks/>
            <a:stCxn id="72" idx="6"/>
            <a:endCxn id="64" idx="2"/>
          </p:cNvCxnSpPr>
          <p:nvPr/>
        </p:nvCxnSpPr>
        <p:spPr>
          <a:xfrm>
            <a:off x="2810545" y="3354960"/>
            <a:ext cx="824651" cy="0"/>
          </a:xfrm>
          <a:prstGeom prst="line">
            <a:avLst/>
          </a:prstGeom>
          <a:ln>
            <a:solidFill>
              <a:srgbClr val="73C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81584377-8E1A-40CD-9D20-B90411BC6276}"/>
              </a:ext>
            </a:extLst>
          </p:cNvPr>
          <p:cNvSpPr/>
          <p:nvPr/>
        </p:nvSpPr>
        <p:spPr>
          <a:xfrm>
            <a:off x="1662374" y="2488131"/>
            <a:ext cx="414338" cy="414338"/>
          </a:xfrm>
          <a:prstGeom prst="rect">
            <a:avLst/>
          </a:prstGeom>
          <a:noFill/>
          <a:ln>
            <a:solidFill>
              <a:srgbClr val="E9A9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423317F-3F48-46C1-967F-646D5E6B44E0}"/>
              </a:ext>
            </a:extLst>
          </p:cNvPr>
          <p:cNvSpPr/>
          <p:nvPr/>
        </p:nvSpPr>
        <p:spPr>
          <a:xfrm>
            <a:off x="1790417" y="3384291"/>
            <a:ext cx="414338" cy="414338"/>
          </a:xfrm>
          <a:prstGeom prst="rect">
            <a:avLst/>
          </a:prstGeom>
          <a:noFill/>
          <a:ln>
            <a:solidFill>
              <a:srgbClr val="E9A9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8964420-1141-4D2F-AAA2-AA51865DF6F2}"/>
              </a:ext>
            </a:extLst>
          </p:cNvPr>
          <p:cNvSpPr/>
          <p:nvPr/>
        </p:nvSpPr>
        <p:spPr>
          <a:xfrm>
            <a:off x="998840" y="2751918"/>
            <a:ext cx="414338" cy="414338"/>
          </a:xfrm>
          <a:prstGeom prst="rect">
            <a:avLst/>
          </a:prstGeom>
          <a:noFill/>
          <a:ln>
            <a:solidFill>
              <a:srgbClr val="E9A9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B44387-554C-4ABC-AB3A-D5D2F19F5DA9}"/>
              </a:ext>
            </a:extLst>
          </p:cNvPr>
          <p:cNvSpPr/>
          <p:nvPr/>
        </p:nvSpPr>
        <p:spPr>
          <a:xfrm>
            <a:off x="6942735" y="2518150"/>
            <a:ext cx="1077783" cy="425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AU" sz="1050" b="1" dirty="0">
                <a:solidFill>
                  <a:schemeClr val="bg1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ncipal Authority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511ED14E-488F-4E12-897A-3C1D196777F9}"/>
              </a:ext>
            </a:extLst>
          </p:cNvPr>
          <p:cNvSpPr/>
          <p:nvPr/>
        </p:nvSpPr>
        <p:spPr>
          <a:xfrm>
            <a:off x="6953536" y="3147608"/>
            <a:ext cx="1056180" cy="425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AU" sz="1050" b="1" dirty="0">
                <a:solidFill>
                  <a:schemeClr val="bg1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horised Administrator 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AB2FAD0-0571-4FAA-AF90-596EF0A06CAE}"/>
              </a:ext>
            </a:extLst>
          </p:cNvPr>
          <p:cNvSpPr/>
          <p:nvPr/>
        </p:nvSpPr>
        <p:spPr>
          <a:xfrm>
            <a:off x="7179299" y="3880832"/>
            <a:ext cx="604654" cy="260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AU" sz="1050" b="1" dirty="0">
                <a:solidFill>
                  <a:schemeClr val="bg1"/>
                </a:solidFill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rs 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F331873-1161-4E9F-91C1-41C47C3D0B69}"/>
              </a:ext>
            </a:extLst>
          </p:cNvPr>
          <p:cNvGrpSpPr/>
          <p:nvPr/>
        </p:nvGrpSpPr>
        <p:grpSpPr>
          <a:xfrm>
            <a:off x="4884094" y="3872381"/>
            <a:ext cx="872519" cy="872519"/>
            <a:chOff x="4938483" y="2613499"/>
            <a:chExt cx="954424" cy="954424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C19F7687-7528-4CA8-8492-A061F2C54ED8}"/>
                </a:ext>
              </a:extLst>
            </p:cNvPr>
            <p:cNvSpPr/>
            <p:nvPr/>
          </p:nvSpPr>
          <p:spPr>
            <a:xfrm>
              <a:off x="4938483" y="2613499"/>
              <a:ext cx="954424" cy="954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45" name="Picture 44" descr="A picture containing text, night sky&#10;&#10;Description automatically generated">
              <a:extLst>
                <a:ext uri="{FF2B5EF4-FFF2-40B4-BE49-F238E27FC236}">
                  <a16:creationId xmlns:a16="http://schemas.microsoft.com/office/drawing/2014/main" id="{2F285EBF-3902-42DE-BF7B-3718668B4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1959" y="2878195"/>
              <a:ext cx="699362" cy="365416"/>
            </a:xfrm>
            <a:prstGeom prst="rect">
              <a:avLst/>
            </a:prstGeom>
          </p:spPr>
        </p:pic>
      </p:grp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1F1088-E6AB-468A-8CD8-6501B99C5914}"/>
              </a:ext>
            </a:extLst>
          </p:cNvPr>
          <p:cNvCxnSpPr>
            <a:cxnSpLocks/>
            <a:stCxn id="64" idx="6"/>
            <a:endCxn id="114" idx="1"/>
          </p:cNvCxnSpPr>
          <p:nvPr/>
        </p:nvCxnSpPr>
        <p:spPr>
          <a:xfrm>
            <a:off x="5615196" y="3354960"/>
            <a:ext cx="872520" cy="0"/>
          </a:xfrm>
          <a:prstGeom prst="line">
            <a:avLst/>
          </a:prstGeom>
          <a:ln>
            <a:solidFill>
              <a:srgbClr val="73C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595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hape&#10;&#10;Description automatically generated">
            <a:extLst>
              <a:ext uri="{FF2B5EF4-FFF2-40B4-BE49-F238E27FC236}">
                <a16:creationId xmlns:a16="http://schemas.microsoft.com/office/drawing/2014/main" id="{152094E6-7BBD-144F-8576-4E82EEA50D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34" y="2859425"/>
            <a:ext cx="6679723" cy="2234332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68E48C6-329D-4F42-B298-495FA311EE95}"/>
              </a:ext>
            </a:extLst>
          </p:cNvPr>
          <p:cNvSpPr/>
          <p:nvPr/>
        </p:nvSpPr>
        <p:spPr>
          <a:xfrm>
            <a:off x="322267" y="1295405"/>
            <a:ext cx="1284420" cy="1284420"/>
          </a:xfrm>
          <a:prstGeom prst="ellipse">
            <a:avLst/>
          </a:prstGeom>
          <a:solidFill>
            <a:srgbClr val="287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hape, rectangle&#10;&#10;Description automatically generated">
            <a:extLst>
              <a:ext uri="{FF2B5EF4-FFF2-40B4-BE49-F238E27FC236}">
                <a16:creationId xmlns:a16="http://schemas.microsoft.com/office/drawing/2014/main" id="{33FC4A9D-8C41-F042-889F-7DF393EA00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28" y="741635"/>
            <a:ext cx="6679723" cy="2234332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2140736" y="3145126"/>
            <a:ext cx="16075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A2B427"/>
                </a:solidFill>
              </a:rPr>
              <a:t>Set up myGovID (5 mins)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737488" y="3145126"/>
            <a:ext cx="20302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A2B427"/>
                </a:solidFill>
              </a:rPr>
              <a:t>Accept the authorisation (2 mins)</a:t>
            </a:r>
          </a:p>
        </p:txBody>
      </p:sp>
      <p:grpSp>
        <p:nvGrpSpPr>
          <p:cNvPr id="74" name="Group 54"/>
          <p:cNvGrpSpPr/>
          <p:nvPr/>
        </p:nvGrpSpPr>
        <p:grpSpPr>
          <a:xfrm>
            <a:off x="2537633" y="3480726"/>
            <a:ext cx="538197" cy="713500"/>
            <a:chOff x="562725" y="2632126"/>
            <a:chExt cx="415603" cy="550977"/>
          </a:xfrm>
        </p:grpSpPr>
        <p:grpSp>
          <p:nvGrpSpPr>
            <p:cNvPr id="75" name="Group 55"/>
            <p:cNvGrpSpPr/>
            <p:nvPr/>
          </p:nvGrpSpPr>
          <p:grpSpPr>
            <a:xfrm>
              <a:off x="562725" y="2632126"/>
              <a:ext cx="415603" cy="550977"/>
              <a:chOff x="11094627" y="7712630"/>
              <a:chExt cx="769770" cy="1020508"/>
            </a:xfrm>
          </p:grpSpPr>
          <p:sp>
            <p:nvSpPr>
              <p:cNvPr id="77" name="Rounded Rectangle 57"/>
              <p:cNvSpPr/>
              <p:nvPr/>
            </p:nvSpPr>
            <p:spPr>
              <a:xfrm>
                <a:off x="11094627" y="7712630"/>
                <a:ext cx="769770" cy="1020508"/>
              </a:xfrm>
              <a:prstGeom prst="roundRect">
                <a:avLst>
                  <a:gd name="adj" fmla="val 6802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Rounded Rectangle 339"/>
              <p:cNvSpPr/>
              <p:nvPr/>
            </p:nvSpPr>
            <p:spPr>
              <a:xfrm>
                <a:off x="11094628" y="7712630"/>
                <a:ext cx="697987" cy="1020508"/>
              </a:xfrm>
              <a:custGeom>
                <a:avLst/>
                <a:gdLst/>
                <a:ahLst/>
                <a:cxnLst/>
                <a:rect l="l" t="t" r="r" b="b"/>
                <a:pathLst>
                  <a:path w="697987" h="1020508">
                    <a:moveTo>
                      <a:pt x="52360" y="0"/>
                    </a:moveTo>
                    <a:lnTo>
                      <a:pt x="697987" y="0"/>
                    </a:lnTo>
                    <a:lnTo>
                      <a:pt x="57082" y="1020508"/>
                    </a:lnTo>
                    <a:lnTo>
                      <a:pt x="52360" y="1020508"/>
                    </a:lnTo>
                    <a:cubicBezTo>
                      <a:pt x="23442" y="1020508"/>
                      <a:pt x="0" y="997066"/>
                      <a:pt x="0" y="968148"/>
                    </a:cubicBezTo>
                    <a:lnTo>
                      <a:pt x="0" y="52360"/>
                    </a:lnTo>
                    <a:cubicBezTo>
                      <a:pt x="0" y="23442"/>
                      <a:pt x="23442" y="0"/>
                      <a:pt x="52360" y="0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Rectangle 59"/>
              <p:cNvSpPr/>
              <p:nvPr/>
            </p:nvSpPr>
            <p:spPr>
              <a:xfrm>
                <a:off x="11155667" y="7794919"/>
                <a:ext cx="647688" cy="855931"/>
              </a:xfrm>
              <a:prstGeom prst="rect">
                <a:avLst/>
              </a:prstGeom>
              <a:solidFill>
                <a:srgbClr val="002F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Oval 60"/>
              <p:cNvSpPr/>
              <p:nvPr/>
            </p:nvSpPr>
            <p:spPr>
              <a:xfrm>
                <a:off x="11455814" y="8667846"/>
                <a:ext cx="47397" cy="4739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61"/>
              <p:cNvSpPr/>
              <p:nvPr/>
            </p:nvSpPr>
            <p:spPr>
              <a:xfrm>
                <a:off x="11467682" y="7738694"/>
                <a:ext cx="23660" cy="2366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6" name="Picture 2" descr="See the source imag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526" y="2751878"/>
              <a:ext cx="298000" cy="29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8" name="Group 157"/>
          <p:cNvGrpSpPr/>
          <p:nvPr/>
        </p:nvGrpSpPr>
        <p:grpSpPr>
          <a:xfrm>
            <a:off x="5009051" y="3519892"/>
            <a:ext cx="1074894" cy="869511"/>
            <a:chOff x="3202443" y="3126464"/>
            <a:chExt cx="907817" cy="734358"/>
          </a:xfrm>
        </p:grpSpPr>
        <p:grpSp>
          <p:nvGrpSpPr>
            <p:cNvPr id="89" name="Group 166"/>
            <p:cNvGrpSpPr/>
            <p:nvPr/>
          </p:nvGrpSpPr>
          <p:grpSpPr>
            <a:xfrm>
              <a:off x="3252506" y="3126464"/>
              <a:ext cx="857754" cy="734358"/>
              <a:chOff x="3358355" y="2644856"/>
              <a:chExt cx="857754" cy="734358"/>
            </a:xfrm>
          </p:grpSpPr>
          <p:grpSp>
            <p:nvGrpSpPr>
              <p:cNvPr id="98" name="Group 177"/>
              <p:cNvGrpSpPr/>
              <p:nvPr/>
            </p:nvGrpSpPr>
            <p:grpSpPr>
              <a:xfrm>
                <a:off x="3358355" y="2644856"/>
                <a:ext cx="857754" cy="734358"/>
                <a:chOff x="1247636" y="1298537"/>
                <a:chExt cx="1588713" cy="1360160"/>
              </a:xfrm>
            </p:grpSpPr>
            <p:sp>
              <p:nvSpPr>
                <p:cNvPr id="100" name="Rounded Rectangle 76"/>
                <p:cNvSpPr/>
                <p:nvPr/>
              </p:nvSpPr>
              <p:spPr>
                <a:xfrm>
                  <a:off x="1288232" y="1354245"/>
                  <a:ext cx="1493122" cy="7938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01058" h="1855693">
                      <a:moveTo>
                        <a:pt x="0" y="0"/>
                      </a:moveTo>
                      <a:lnTo>
                        <a:pt x="3501058" y="0"/>
                      </a:lnTo>
                      <a:lnTo>
                        <a:pt x="3501058" y="1855693"/>
                      </a:lnTo>
                      <a:lnTo>
                        <a:pt x="0" y="1855693"/>
                      </a:lnTo>
                      <a:close/>
                    </a:path>
                  </a:pathLst>
                </a:custGeom>
                <a:solidFill>
                  <a:srgbClr val="00C9D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Rounded Rectangle 73"/>
                <p:cNvSpPr/>
                <p:nvPr/>
              </p:nvSpPr>
              <p:spPr>
                <a:xfrm>
                  <a:off x="1247636" y="2206203"/>
                  <a:ext cx="158484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514472">
                      <a:moveTo>
                        <a:pt x="0" y="0"/>
                      </a:moveTo>
                      <a:lnTo>
                        <a:pt x="3762375" y="0"/>
                      </a:lnTo>
                      <a:lnTo>
                        <a:pt x="3762375" y="337208"/>
                      </a:lnTo>
                      <a:cubicBezTo>
                        <a:pt x="3762375" y="435108"/>
                        <a:pt x="3683011" y="514472"/>
                        <a:pt x="3585111" y="514472"/>
                      </a:cubicBezTo>
                      <a:lnTo>
                        <a:pt x="177264" y="514472"/>
                      </a:lnTo>
                      <a:cubicBezTo>
                        <a:pt x="79364" y="514472"/>
                        <a:pt x="0" y="435108"/>
                        <a:pt x="0" y="3372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Rounded Rectangle 47"/>
                <p:cNvSpPr/>
                <p:nvPr/>
              </p:nvSpPr>
              <p:spPr>
                <a:xfrm>
                  <a:off x="1247636" y="1298537"/>
                  <a:ext cx="1584849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2154766">
                      <a:moveTo>
                        <a:pt x="130658" y="146716"/>
                      </a:moveTo>
                      <a:lnTo>
                        <a:pt x="130658" y="2002409"/>
                      </a:lnTo>
                      <a:lnTo>
                        <a:pt x="3631716" y="2002409"/>
                      </a:lnTo>
                      <a:lnTo>
                        <a:pt x="3631716" y="146716"/>
                      </a:lnTo>
                      <a:close/>
                      <a:moveTo>
                        <a:pt x="177264" y="0"/>
                      </a:moveTo>
                      <a:lnTo>
                        <a:pt x="3585111" y="0"/>
                      </a:lnTo>
                      <a:cubicBezTo>
                        <a:pt x="3683011" y="0"/>
                        <a:pt x="3762375" y="79364"/>
                        <a:pt x="3762375" y="177264"/>
                      </a:cubicBezTo>
                      <a:lnTo>
                        <a:pt x="3762375" y="2154766"/>
                      </a:lnTo>
                      <a:lnTo>
                        <a:pt x="0" y="2154766"/>
                      </a:lnTo>
                      <a:lnTo>
                        <a:pt x="0" y="177264"/>
                      </a:lnTo>
                      <a:cubicBezTo>
                        <a:pt x="0" y="79364"/>
                        <a:pt x="79364" y="0"/>
                        <a:pt x="17726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3" name="Trapezoid 182"/>
                <p:cNvSpPr/>
                <p:nvPr/>
              </p:nvSpPr>
              <p:spPr>
                <a:xfrm>
                  <a:off x="1828684" y="2422918"/>
                  <a:ext cx="422753" cy="181261"/>
                </a:xfrm>
                <a:prstGeom prst="trapezoid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Rectangle 183"/>
                <p:cNvSpPr/>
                <p:nvPr/>
              </p:nvSpPr>
              <p:spPr>
                <a:xfrm>
                  <a:off x="1700197" y="2604178"/>
                  <a:ext cx="679727" cy="545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Trapezoid 85"/>
                <p:cNvSpPr/>
                <p:nvPr/>
              </p:nvSpPr>
              <p:spPr>
                <a:xfrm>
                  <a:off x="1869912" y="2422918"/>
                  <a:ext cx="340296" cy="16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850" h="38802">
                      <a:moveTo>
                        <a:pt x="9701" y="0"/>
                      </a:moveTo>
                      <a:lnTo>
                        <a:pt x="798149" y="0"/>
                      </a:lnTo>
                      <a:lnTo>
                        <a:pt x="807850" y="38802"/>
                      </a:lnTo>
                      <a:lnTo>
                        <a:pt x="0" y="38802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6" name="Oval 185"/>
                <p:cNvSpPr/>
                <p:nvPr/>
              </p:nvSpPr>
              <p:spPr>
                <a:xfrm>
                  <a:off x="2011377" y="2285877"/>
                  <a:ext cx="57366" cy="5736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7" name="Rounded Rectangle 76"/>
                <p:cNvSpPr/>
                <p:nvPr/>
              </p:nvSpPr>
              <p:spPr>
                <a:xfrm>
                  <a:off x="1297291" y="1361279"/>
                  <a:ext cx="758692" cy="7816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692" h="781686">
                      <a:moveTo>
                        <a:pt x="0" y="0"/>
                      </a:moveTo>
                      <a:lnTo>
                        <a:pt x="758692" y="0"/>
                      </a:lnTo>
                      <a:lnTo>
                        <a:pt x="265905" y="781686"/>
                      </a:lnTo>
                      <a:lnTo>
                        <a:pt x="0" y="781686"/>
                      </a:lnTo>
                      <a:close/>
                    </a:path>
                  </a:pathLst>
                </a:custGeom>
                <a:solidFill>
                  <a:srgbClr val="00DF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8" name="Rounded Rectangle 47"/>
                <p:cNvSpPr/>
                <p:nvPr/>
              </p:nvSpPr>
              <p:spPr>
                <a:xfrm>
                  <a:off x="1249957" y="1298537"/>
                  <a:ext cx="848642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642" h="907666">
                      <a:moveTo>
                        <a:pt x="74670" y="0"/>
                      </a:moveTo>
                      <a:lnTo>
                        <a:pt x="848642" y="0"/>
                      </a:lnTo>
                      <a:lnTo>
                        <a:pt x="809681" y="61802"/>
                      </a:lnTo>
                      <a:lnTo>
                        <a:pt x="55038" y="61802"/>
                      </a:lnTo>
                      <a:lnTo>
                        <a:pt x="55038" y="843488"/>
                      </a:lnTo>
                      <a:lnTo>
                        <a:pt x="316895" y="843488"/>
                      </a:lnTo>
                      <a:lnTo>
                        <a:pt x="280669" y="900952"/>
                      </a:lnTo>
                      <a:lnTo>
                        <a:pt x="291319" y="907666"/>
                      </a:lnTo>
                      <a:lnTo>
                        <a:pt x="0" y="907666"/>
                      </a:lnTo>
                      <a:lnTo>
                        <a:pt x="0" y="74670"/>
                      </a:lnTo>
                      <a:cubicBezTo>
                        <a:pt x="0" y="33431"/>
                        <a:pt x="33431" y="0"/>
                        <a:pt x="7467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9" name="Rounded Rectangle 73"/>
                <p:cNvSpPr/>
                <p:nvPr/>
              </p:nvSpPr>
              <p:spPr>
                <a:xfrm>
                  <a:off x="1390550" y="2206203"/>
                  <a:ext cx="144579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5799" h="216714">
                      <a:moveTo>
                        <a:pt x="136620" y="0"/>
                      </a:moveTo>
                      <a:lnTo>
                        <a:pt x="1445799" y="0"/>
                      </a:lnTo>
                      <a:lnTo>
                        <a:pt x="1445799" y="142044"/>
                      </a:lnTo>
                      <a:cubicBezTo>
                        <a:pt x="1445799" y="183283"/>
                        <a:pt x="1412368" y="216714"/>
                        <a:pt x="1371129" y="216714"/>
                      </a:cubicBezTo>
                      <a:lnTo>
                        <a:pt x="0" y="21671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0" name="Oval 189"/>
                <p:cNvSpPr/>
                <p:nvPr/>
              </p:nvSpPr>
              <p:spPr>
                <a:xfrm>
                  <a:off x="2019132" y="2291700"/>
                  <a:ext cx="45720" cy="4572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99" name="TextBox 178"/>
              <p:cNvSpPr txBox="1"/>
              <p:nvPr/>
            </p:nvSpPr>
            <p:spPr>
              <a:xfrm>
                <a:off x="3399440" y="2689832"/>
                <a:ext cx="786978" cy="399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AU" sz="1351" b="1" dirty="0">
                    <a:solidFill>
                      <a:prstClr val="white"/>
                    </a:solidFill>
                  </a:rPr>
                  <a:t>RAM</a:t>
                </a:r>
              </a:p>
            </p:txBody>
          </p:sp>
        </p:grpSp>
        <p:grpSp>
          <p:nvGrpSpPr>
            <p:cNvPr id="90" name="Group 169"/>
            <p:cNvGrpSpPr/>
            <p:nvPr/>
          </p:nvGrpSpPr>
          <p:grpSpPr>
            <a:xfrm>
              <a:off x="3202443" y="3338247"/>
              <a:ext cx="255370" cy="338551"/>
              <a:chOff x="562725" y="2632126"/>
              <a:chExt cx="415603" cy="550977"/>
            </a:xfrm>
          </p:grpSpPr>
          <p:grpSp>
            <p:nvGrpSpPr>
              <p:cNvPr id="91" name="Group 170"/>
              <p:cNvGrpSpPr/>
              <p:nvPr/>
            </p:nvGrpSpPr>
            <p:grpSpPr>
              <a:xfrm>
                <a:off x="562725" y="2632126"/>
                <a:ext cx="415603" cy="550977"/>
                <a:chOff x="11094627" y="7712630"/>
                <a:chExt cx="769770" cy="1020508"/>
              </a:xfrm>
            </p:grpSpPr>
            <p:sp>
              <p:nvSpPr>
                <p:cNvPr id="93" name="Rounded Rectangle 172"/>
                <p:cNvSpPr/>
                <p:nvPr/>
              </p:nvSpPr>
              <p:spPr>
                <a:xfrm>
                  <a:off x="11094627" y="7712630"/>
                  <a:ext cx="769770" cy="1020508"/>
                </a:xfrm>
                <a:prstGeom prst="roundRect">
                  <a:avLst>
                    <a:gd name="adj" fmla="val 680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Rounded Rectangle 339"/>
                <p:cNvSpPr/>
                <p:nvPr/>
              </p:nvSpPr>
              <p:spPr>
                <a:xfrm>
                  <a:off x="11094628" y="7712630"/>
                  <a:ext cx="697987" cy="102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7987" h="1020508">
                      <a:moveTo>
                        <a:pt x="52360" y="0"/>
                      </a:moveTo>
                      <a:lnTo>
                        <a:pt x="697987" y="0"/>
                      </a:lnTo>
                      <a:lnTo>
                        <a:pt x="57082" y="1020508"/>
                      </a:lnTo>
                      <a:lnTo>
                        <a:pt x="52360" y="1020508"/>
                      </a:lnTo>
                      <a:cubicBezTo>
                        <a:pt x="23442" y="1020508"/>
                        <a:pt x="0" y="997066"/>
                        <a:pt x="0" y="968148"/>
                      </a:cubicBezTo>
                      <a:lnTo>
                        <a:pt x="0" y="52360"/>
                      </a:lnTo>
                      <a:cubicBezTo>
                        <a:pt x="0" y="23442"/>
                        <a:pt x="23442" y="0"/>
                        <a:pt x="5236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Rectangle 174"/>
                <p:cNvSpPr/>
                <p:nvPr/>
              </p:nvSpPr>
              <p:spPr>
                <a:xfrm>
                  <a:off x="11155667" y="7794919"/>
                  <a:ext cx="647688" cy="855931"/>
                </a:xfrm>
                <a:prstGeom prst="rect">
                  <a:avLst/>
                </a:prstGeom>
                <a:solidFill>
                  <a:srgbClr val="002F2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6" name="Oval 175"/>
                <p:cNvSpPr/>
                <p:nvPr/>
              </p:nvSpPr>
              <p:spPr>
                <a:xfrm>
                  <a:off x="11455814" y="8667846"/>
                  <a:ext cx="47397" cy="4739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Oval 176"/>
                <p:cNvSpPr/>
                <p:nvPr/>
              </p:nvSpPr>
              <p:spPr>
                <a:xfrm>
                  <a:off x="11467682" y="7738694"/>
                  <a:ext cx="23660" cy="2366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92" name="Picture 2" descr="See the source image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526" y="2751878"/>
                <a:ext cx="298000" cy="29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16" name="Group 284"/>
          <p:cNvGrpSpPr/>
          <p:nvPr/>
        </p:nvGrpSpPr>
        <p:grpSpPr>
          <a:xfrm>
            <a:off x="2294214" y="1069048"/>
            <a:ext cx="958379" cy="757915"/>
            <a:chOff x="3202443" y="3126464"/>
            <a:chExt cx="907817" cy="734358"/>
          </a:xfrm>
        </p:grpSpPr>
        <p:grpSp>
          <p:nvGrpSpPr>
            <p:cNvPr id="117" name="Group 285"/>
            <p:cNvGrpSpPr/>
            <p:nvPr/>
          </p:nvGrpSpPr>
          <p:grpSpPr>
            <a:xfrm>
              <a:off x="3252506" y="3126464"/>
              <a:ext cx="857754" cy="734358"/>
              <a:chOff x="3358355" y="2644856"/>
              <a:chExt cx="857754" cy="734358"/>
            </a:xfrm>
          </p:grpSpPr>
          <p:grpSp>
            <p:nvGrpSpPr>
              <p:cNvPr id="126" name="Group 294"/>
              <p:cNvGrpSpPr/>
              <p:nvPr/>
            </p:nvGrpSpPr>
            <p:grpSpPr>
              <a:xfrm>
                <a:off x="3358355" y="2644856"/>
                <a:ext cx="857754" cy="734358"/>
                <a:chOff x="1247636" y="1298537"/>
                <a:chExt cx="1588713" cy="1360160"/>
              </a:xfrm>
            </p:grpSpPr>
            <p:sp>
              <p:nvSpPr>
                <p:cNvPr id="128" name="Rounded Rectangle 76"/>
                <p:cNvSpPr/>
                <p:nvPr/>
              </p:nvSpPr>
              <p:spPr>
                <a:xfrm>
                  <a:off x="1288232" y="1354245"/>
                  <a:ext cx="1493122" cy="7938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01058" h="1855693">
                      <a:moveTo>
                        <a:pt x="0" y="0"/>
                      </a:moveTo>
                      <a:lnTo>
                        <a:pt x="3501058" y="0"/>
                      </a:lnTo>
                      <a:lnTo>
                        <a:pt x="3501058" y="1855693"/>
                      </a:lnTo>
                      <a:lnTo>
                        <a:pt x="0" y="1855693"/>
                      </a:lnTo>
                      <a:close/>
                    </a:path>
                  </a:pathLst>
                </a:custGeom>
                <a:solidFill>
                  <a:srgbClr val="00C9D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9" name="Rounded Rectangle 73"/>
                <p:cNvSpPr/>
                <p:nvPr/>
              </p:nvSpPr>
              <p:spPr>
                <a:xfrm>
                  <a:off x="1247636" y="2206203"/>
                  <a:ext cx="158484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514472">
                      <a:moveTo>
                        <a:pt x="0" y="0"/>
                      </a:moveTo>
                      <a:lnTo>
                        <a:pt x="3762375" y="0"/>
                      </a:lnTo>
                      <a:lnTo>
                        <a:pt x="3762375" y="337208"/>
                      </a:lnTo>
                      <a:cubicBezTo>
                        <a:pt x="3762375" y="435108"/>
                        <a:pt x="3683011" y="514472"/>
                        <a:pt x="3585111" y="514472"/>
                      </a:cubicBezTo>
                      <a:lnTo>
                        <a:pt x="177264" y="514472"/>
                      </a:lnTo>
                      <a:cubicBezTo>
                        <a:pt x="79364" y="514472"/>
                        <a:pt x="0" y="435108"/>
                        <a:pt x="0" y="3372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0" name="Rounded Rectangle 47"/>
                <p:cNvSpPr/>
                <p:nvPr/>
              </p:nvSpPr>
              <p:spPr>
                <a:xfrm>
                  <a:off x="1247636" y="1298537"/>
                  <a:ext cx="1584849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2154766">
                      <a:moveTo>
                        <a:pt x="130658" y="146716"/>
                      </a:moveTo>
                      <a:lnTo>
                        <a:pt x="130658" y="2002409"/>
                      </a:lnTo>
                      <a:lnTo>
                        <a:pt x="3631716" y="2002409"/>
                      </a:lnTo>
                      <a:lnTo>
                        <a:pt x="3631716" y="146716"/>
                      </a:lnTo>
                      <a:close/>
                      <a:moveTo>
                        <a:pt x="177264" y="0"/>
                      </a:moveTo>
                      <a:lnTo>
                        <a:pt x="3585111" y="0"/>
                      </a:lnTo>
                      <a:cubicBezTo>
                        <a:pt x="3683011" y="0"/>
                        <a:pt x="3762375" y="79364"/>
                        <a:pt x="3762375" y="177264"/>
                      </a:cubicBezTo>
                      <a:lnTo>
                        <a:pt x="3762375" y="2154766"/>
                      </a:lnTo>
                      <a:lnTo>
                        <a:pt x="0" y="2154766"/>
                      </a:lnTo>
                      <a:lnTo>
                        <a:pt x="0" y="177264"/>
                      </a:lnTo>
                      <a:cubicBezTo>
                        <a:pt x="0" y="79364"/>
                        <a:pt x="79364" y="0"/>
                        <a:pt x="17726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1" name="Trapezoid 299"/>
                <p:cNvSpPr/>
                <p:nvPr/>
              </p:nvSpPr>
              <p:spPr>
                <a:xfrm>
                  <a:off x="1828684" y="2422918"/>
                  <a:ext cx="422753" cy="181261"/>
                </a:xfrm>
                <a:prstGeom prst="trapezoid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2" name="Rectangle 300"/>
                <p:cNvSpPr/>
                <p:nvPr/>
              </p:nvSpPr>
              <p:spPr>
                <a:xfrm>
                  <a:off x="1700197" y="2604178"/>
                  <a:ext cx="679727" cy="545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3" name="Trapezoid 85"/>
                <p:cNvSpPr/>
                <p:nvPr/>
              </p:nvSpPr>
              <p:spPr>
                <a:xfrm>
                  <a:off x="1869912" y="2422918"/>
                  <a:ext cx="340296" cy="16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850" h="38802">
                      <a:moveTo>
                        <a:pt x="9701" y="0"/>
                      </a:moveTo>
                      <a:lnTo>
                        <a:pt x="798149" y="0"/>
                      </a:lnTo>
                      <a:lnTo>
                        <a:pt x="807850" y="38802"/>
                      </a:lnTo>
                      <a:lnTo>
                        <a:pt x="0" y="38802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4" name="Oval 302"/>
                <p:cNvSpPr/>
                <p:nvPr/>
              </p:nvSpPr>
              <p:spPr>
                <a:xfrm>
                  <a:off x="2011377" y="2285877"/>
                  <a:ext cx="57366" cy="5736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5" name="Rounded Rectangle 76"/>
                <p:cNvSpPr/>
                <p:nvPr/>
              </p:nvSpPr>
              <p:spPr>
                <a:xfrm>
                  <a:off x="1297291" y="1361279"/>
                  <a:ext cx="758692" cy="7816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692" h="781686">
                      <a:moveTo>
                        <a:pt x="0" y="0"/>
                      </a:moveTo>
                      <a:lnTo>
                        <a:pt x="758692" y="0"/>
                      </a:lnTo>
                      <a:lnTo>
                        <a:pt x="265905" y="781686"/>
                      </a:lnTo>
                      <a:lnTo>
                        <a:pt x="0" y="781686"/>
                      </a:lnTo>
                      <a:close/>
                    </a:path>
                  </a:pathLst>
                </a:custGeom>
                <a:solidFill>
                  <a:srgbClr val="00DF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6" name="Rounded Rectangle 47"/>
                <p:cNvSpPr/>
                <p:nvPr/>
              </p:nvSpPr>
              <p:spPr>
                <a:xfrm>
                  <a:off x="1249957" y="1298537"/>
                  <a:ext cx="848642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642" h="907666">
                      <a:moveTo>
                        <a:pt x="74670" y="0"/>
                      </a:moveTo>
                      <a:lnTo>
                        <a:pt x="848642" y="0"/>
                      </a:lnTo>
                      <a:lnTo>
                        <a:pt x="809681" y="61802"/>
                      </a:lnTo>
                      <a:lnTo>
                        <a:pt x="55038" y="61802"/>
                      </a:lnTo>
                      <a:lnTo>
                        <a:pt x="55038" y="843488"/>
                      </a:lnTo>
                      <a:lnTo>
                        <a:pt x="316895" y="843488"/>
                      </a:lnTo>
                      <a:lnTo>
                        <a:pt x="280669" y="900952"/>
                      </a:lnTo>
                      <a:lnTo>
                        <a:pt x="291319" y="907666"/>
                      </a:lnTo>
                      <a:lnTo>
                        <a:pt x="0" y="907666"/>
                      </a:lnTo>
                      <a:lnTo>
                        <a:pt x="0" y="74670"/>
                      </a:lnTo>
                      <a:cubicBezTo>
                        <a:pt x="0" y="33431"/>
                        <a:pt x="33431" y="0"/>
                        <a:pt x="7467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7" name="Rounded Rectangle 73"/>
                <p:cNvSpPr/>
                <p:nvPr/>
              </p:nvSpPr>
              <p:spPr>
                <a:xfrm>
                  <a:off x="1390550" y="2206203"/>
                  <a:ext cx="144579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5799" h="216714">
                      <a:moveTo>
                        <a:pt x="136620" y="0"/>
                      </a:moveTo>
                      <a:lnTo>
                        <a:pt x="1445799" y="0"/>
                      </a:lnTo>
                      <a:lnTo>
                        <a:pt x="1445799" y="142044"/>
                      </a:lnTo>
                      <a:cubicBezTo>
                        <a:pt x="1445799" y="183283"/>
                        <a:pt x="1412368" y="216714"/>
                        <a:pt x="1371129" y="216714"/>
                      </a:cubicBezTo>
                      <a:lnTo>
                        <a:pt x="0" y="21671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8" name="Oval 306"/>
                <p:cNvSpPr/>
                <p:nvPr/>
              </p:nvSpPr>
              <p:spPr>
                <a:xfrm>
                  <a:off x="2019132" y="2291700"/>
                  <a:ext cx="45720" cy="4572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7" name="TextBox 295"/>
              <p:cNvSpPr txBox="1"/>
              <p:nvPr/>
            </p:nvSpPr>
            <p:spPr>
              <a:xfrm>
                <a:off x="3399439" y="2689832"/>
                <a:ext cx="786978" cy="4205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AU" sz="1351" b="1" dirty="0">
                    <a:solidFill>
                      <a:prstClr val="white"/>
                    </a:solidFill>
                  </a:rPr>
                  <a:t>RAM</a:t>
                </a:r>
              </a:p>
            </p:txBody>
          </p:sp>
        </p:grpSp>
        <p:grpSp>
          <p:nvGrpSpPr>
            <p:cNvPr id="118" name="Group 286"/>
            <p:cNvGrpSpPr/>
            <p:nvPr/>
          </p:nvGrpSpPr>
          <p:grpSpPr>
            <a:xfrm>
              <a:off x="3202443" y="3338247"/>
              <a:ext cx="255370" cy="338551"/>
              <a:chOff x="562725" y="2632126"/>
              <a:chExt cx="415603" cy="550977"/>
            </a:xfrm>
          </p:grpSpPr>
          <p:grpSp>
            <p:nvGrpSpPr>
              <p:cNvPr id="119" name="Group 287"/>
              <p:cNvGrpSpPr/>
              <p:nvPr/>
            </p:nvGrpSpPr>
            <p:grpSpPr>
              <a:xfrm>
                <a:off x="562725" y="2632126"/>
                <a:ext cx="415603" cy="550977"/>
                <a:chOff x="11094627" y="7712630"/>
                <a:chExt cx="769770" cy="1020508"/>
              </a:xfrm>
            </p:grpSpPr>
            <p:sp>
              <p:nvSpPr>
                <p:cNvPr id="121" name="Rounded Rectangle 289"/>
                <p:cNvSpPr/>
                <p:nvPr/>
              </p:nvSpPr>
              <p:spPr>
                <a:xfrm>
                  <a:off x="11094627" y="7712630"/>
                  <a:ext cx="769770" cy="1020508"/>
                </a:xfrm>
                <a:prstGeom prst="roundRect">
                  <a:avLst>
                    <a:gd name="adj" fmla="val 680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Rounded Rectangle 339"/>
                <p:cNvSpPr/>
                <p:nvPr/>
              </p:nvSpPr>
              <p:spPr>
                <a:xfrm>
                  <a:off x="11094628" y="7712630"/>
                  <a:ext cx="697987" cy="102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7987" h="1020508">
                      <a:moveTo>
                        <a:pt x="52360" y="0"/>
                      </a:moveTo>
                      <a:lnTo>
                        <a:pt x="697987" y="0"/>
                      </a:lnTo>
                      <a:lnTo>
                        <a:pt x="57082" y="1020508"/>
                      </a:lnTo>
                      <a:lnTo>
                        <a:pt x="52360" y="1020508"/>
                      </a:lnTo>
                      <a:cubicBezTo>
                        <a:pt x="23442" y="1020508"/>
                        <a:pt x="0" y="997066"/>
                        <a:pt x="0" y="968148"/>
                      </a:cubicBezTo>
                      <a:lnTo>
                        <a:pt x="0" y="52360"/>
                      </a:lnTo>
                      <a:cubicBezTo>
                        <a:pt x="0" y="23442"/>
                        <a:pt x="23442" y="0"/>
                        <a:pt x="5236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Rectangle 291"/>
                <p:cNvSpPr/>
                <p:nvPr/>
              </p:nvSpPr>
              <p:spPr>
                <a:xfrm>
                  <a:off x="11155667" y="7794920"/>
                  <a:ext cx="647687" cy="855932"/>
                </a:xfrm>
                <a:prstGeom prst="rect">
                  <a:avLst/>
                </a:prstGeom>
                <a:solidFill>
                  <a:srgbClr val="002F2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4" name="Oval 292"/>
                <p:cNvSpPr/>
                <p:nvPr/>
              </p:nvSpPr>
              <p:spPr>
                <a:xfrm>
                  <a:off x="11455814" y="8667846"/>
                  <a:ext cx="47397" cy="4739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5" name="Oval 293"/>
                <p:cNvSpPr/>
                <p:nvPr/>
              </p:nvSpPr>
              <p:spPr>
                <a:xfrm>
                  <a:off x="11467682" y="7738694"/>
                  <a:ext cx="23660" cy="2366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120" name="Picture 2" descr="See the source image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526" y="2751878"/>
                <a:ext cx="298000" cy="29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34" name="TextBox 333"/>
          <p:cNvSpPr txBox="1"/>
          <p:nvPr/>
        </p:nvSpPr>
        <p:spPr>
          <a:xfrm>
            <a:off x="443506" y="2114338"/>
            <a:ext cx="1064846" cy="346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Toni</a:t>
            </a:r>
          </a:p>
          <a:p>
            <a:pPr algn="ctr"/>
            <a:r>
              <a:rPr lang="en-AU" sz="751" dirty="0">
                <a:solidFill>
                  <a:schemeClr val="bg1"/>
                </a:solidFill>
              </a:rPr>
              <a:t>Principal Authority</a:t>
            </a:r>
          </a:p>
        </p:txBody>
      </p:sp>
      <p:sp>
        <p:nvSpPr>
          <p:cNvPr id="402" name="Oval 401">
            <a:extLst>
              <a:ext uri="{FF2B5EF4-FFF2-40B4-BE49-F238E27FC236}">
                <a16:creationId xmlns:a16="http://schemas.microsoft.com/office/drawing/2014/main" id="{F652365B-D567-9546-AC30-ADA0A51F5D3E}"/>
              </a:ext>
            </a:extLst>
          </p:cNvPr>
          <p:cNvSpPr/>
          <p:nvPr/>
        </p:nvSpPr>
        <p:spPr>
          <a:xfrm>
            <a:off x="322267" y="3360639"/>
            <a:ext cx="1284420" cy="1284420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A2B427"/>
              </a:solidFill>
            </a:endParaRPr>
          </a:p>
        </p:txBody>
      </p:sp>
      <p:grpSp>
        <p:nvGrpSpPr>
          <p:cNvPr id="335" name="Group 334"/>
          <p:cNvGrpSpPr/>
          <p:nvPr/>
        </p:nvGrpSpPr>
        <p:grpSpPr>
          <a:xfrm>
            <a:off x="688967" y="1417364"/>
            <a:ext cx="526610" cy="653388"/>
            <a:chOff x="822930" y="1074141"/>
            <a:chExt cx="983907" cy="1615578"/>
          </a:xfrm>
        </p:grpSpPr>
        <p:grpSp>
          <p:nvGrpSpPr>
            <p:cNvPr id="336" name="Group 335"/>
            <p:cNvGrpSpPr/>
            <p:nvPr/>
          </p:nvGrpSpPr>
          <p:grpSpPr>
            <a:xfrm>
              <a:off x="822930" y="1074141"/>
              <a:ext cx="983907" cy="1615578"/>
              <a:chOff x="10266257" y="6957722"/>
              <a:chExt cx="776411" cy="1274869"/>
            </a:xfrm>
          </p:grpSpPr>
          <p:grpSp>
            <p:nvGrpSpPr>
              <p:cNvPr id="340" name="Group 339"/>
              <p:cNvGrpSpPr/>
              <p:nvPr/>
            </p:nvGrpSpPr>
            <p:grpSpPr>
              <a:xfrm>
                <a:off x="10266257" y="6957722"/>
                <a:ext cx="776411" cy="1222308"/>
                <a:chOff x="590550" y="6961361"/>
                <a:chExt cx="1260475" cy="1984374"/>
              </a:xfrm>
            </p:grpSpPr>
            <p:sp>
              <p:nvSpPr>
                <p:cNvPr id="342" name="Freeform 2430"/>
                <p:cNvSpPr>
                  <a:spLocks/>
                </p:cNvSpPr>
                <p:nvPr/>
              </p:nvSpPr>
              <p:spPr bwMode="auto">
                <a:xfrm>
                  <a:off x="1273175" y="7834486"/>
                  <a:ext cx="498475" cy="815975"/>
                </a:xfrm>
                <a:custGeom>
                  <a:avLst/>
                  <a:gdLst>
                    <a:gd name="T0" fmla="*/ 314 w 314"/>
                    <a:gd name="T1" fmla="*/ 0 h 514"/>
                    <a:gd name="T2" fmla="*/ 306 w 314"/>
                    <a:gd name="T3" fmla="*/ 514 h 514"/>
                    <a:gd name="T4" fmla="*/ 228 w 314"/>
                    <a:gd name="T5" fmla="*/ 514 h 514"/>
                    <a:gd name="T6" fmla="*/ 214 w 314"/>
                    <a:gd name="T7" fmla="*/ 450 h 514"/>
                    <a:gd name="T8" fmla="*/ 202 w 314"/>
                    <a:gd name="T9" fmla="*/ 514 h 514"/>
                    <a:gd name="T10" fmla="*/ 0 w 314"/>
                    <a:gd name="T11" fmla="*/ 514 h 514"/>
                    <a:gd name="T12" fmla="*/ 26 w 314"/>
                    <a:gd name="T13" fmla="*/ 340 h 514"/>
                    <a:gd name="T14" fmla="*/ 314 w 314"/>
                    <a:gd name="T15" fmla="*/ 0 h 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4" h="514">
                      <a:moveTo>
                        <a:pt x="314" y="0"/>
                      </a:moveTo>
                      <a:lnTo>
                        <a:pt x="306" y="514"/>
                      </a:lnTo>
                      <a:lnTo>
                        <a:pt x="228" y="514"/>
                      </a:lnTo>
                      <a:lnTo>
                        <a:pt x="214" y="450"/>
                      </a:lnTo>
                      <a:lnTo>
                        <a:pt x="202" y="514"/>
                      </a:lnTo>
                      <a:lnTo>
                        <a:pt x="0" y="514"/>
                      </a:lnTo>
                      <a:lnTo>
                        <a:pt x="26" y="340"/>
                      </a:lnTo>
                      <a:lnTo>
                        <a:pt x="314" y="0"/>
                      </a:lnTo>
                      <a:close/>
                    </a:path>
                  </a:pathLst>
                </a:custGeom>
                <a:solidFill>
                  <a:srgbClr val="FFE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Rectangle 342"/>
                <p:cNvSpPr/>
                <p:nvPr/>
              </p:nvSpPr>
              <p:spPr>
                <a:xfrm>
                  <a:off x="1084262" y="8512769"/>
                  <a:ext cx="280987" cy="432966"/>
                </a:xfrm>
                <a:prstGeom prst="rect">
                  <a:avLst/>
                </a:pr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2431"/>
                <p:cNvSpPr>
                  <a:spLocks/>
                </p:cNvSpPr>
                <p:nvPr/>
              </p:nvSpPr>
              <p:spPr bwMode="auto">
                <a:xfrm>
                  <a:off x="1273175" y="7834486"/>
                  <a:ext cx="498475" cy="815975"/>
                </a:xfrm>
                <a:custGeom>
                  <a:avLst/>
                  <a:gdLst>
                    <a:gd name="T0" fmla="*/ 314 w 314"/>
                    <a:gd name="T1" fmla="*/ 0 h 514"/>
                    <a:gd name="T2" fmla="*/ 306 w 314"/>
                    <a:gd name="T3" fmla="*/ 514 h 514"/>
                    <a:gd name="T4" fmla="*/ 228 w 314"/>
                    <a:gd name="T5" fmla="*/ 514 h 514"/>
                    <a:gd name="T6" fmla="*/ 214 w 314"/>
                    <a:gd name="T7" fmla="*/ 450 h 514"/>
                    <a:gd name="T8" fmla="*/ 202 w 314"/>
                    <a:gd name="T9" fmla="*/ 514 h 514"/>
                    <a:gd name="T10" fmla="*/ 0 w 314"/>
                    <a:gd name="T11" fmla="*/ 514 h 514"/>
                    <a:gd name="T12" fmla="*/ 26 w 314"/>
                    <a:gd name="T13" fmla="*/ 340 h 514"/>
                    <a:gd name="T14" fmla="*/ 314 w 314"/>
                    <a:gd name="T15" fmla="*/ 0 h 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4" h="514">
                      <a:moveTo>
                        <a:pt x="314" y="0"/>
                      </a:moveTo>
                      <a:lnTo>
                        <a:pt x="306" y="514"/>
                      </a:lnTo>
                      <a:lnTo>
                        <a:pt x="228" y="514"/>
                      </a:lnTo>
                      <a:lnTo>
                        <a:pt x="214" y="450"/>
                      </a:lnTo>
                      <a:lnTo>
                        <a:pt x="202" y="514"/>
                      </a:lnTo>
                      <a:lnTo>
                        <a:pt x="0" y="514"/>
                      </a:lnTo>
                      <a:lnTo>
                        <a:pt x="26" y="340"/>
                      </a:lnTo>
                      <a:lnTo>
                        <a:pt x="31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2436"/>
                <p:cNvSpPr>
                  <a:spLocks/>
                </p:cNvSpPr>
                <p:nvPr/>
              </p:nvSpPr>
              <p:spPr bwMode="auto">
                <a:xfrm>
                  <a:off x="1631950" y="7885286"/>
                  <a:ext cx="219075" cy="219075"/>
                </a:xfrm>
                <a:custGeom>
                  <a:avLst/>
                  <a:gdLst>
                    <a:gd name="T0" fmla="*/ 138 w 138"/>
                    <a:gd name="T1" fmla="*/ 68 h 138"/>
                    <a:gd name="T2" fmla="*/ 138 w 138"/>
                    <a:gd name="T3" fmla="*/ 68 h 138"/>
                    <a:gd name="T4" fmla="*/ 136 w 138"/>
                    <a:gd name="T5" fmla="*/ 82 h 138"/>
                    <a:gd name="T6" fmla="*/ 132 w 138"/>
                    <a:gd name="T7" fmla="*/ 96 h 138"/>
                    <a:gd name="T8" fmla="*/ 126 w 138"/>
                    <a:gd name="T9" fmla="*/ 106 h 138"/>
                    <a:gd name="T10" fmla="*/ 118 w 138"/>
                    <a:gd name="T11" fmla="*/ 118 h 138"/>
                    <a:gd name="T12" fmla="*/ 108 w 138"/>
                    <a:gd name="T13" fmla="*/ 126 h 138"/>
                    <a:gd name="T14" fmla="*/ 96 w 138"/>
                    <a:gd name="T15" fmla="*/ 132 h 138"/>
                    <a:gd name="T16" fmla="*/ 84 w 138"/>
                    <a:gd name="T17" fmla="*/ 136 h 138"/>
                    <a:gd name="T18" fmla="*/ 70 w 138"/>
                    <a:gd name="T19" fmla="*/ 138 h 138"/>
                    <a:gd name="T20" fmla="*/ 70 w 138"/>
                    <a:gd name="T21" fmla="*/ 138 h 138"/>
                    <a:gd name="T22" fmla="*/ 56 w 138"/>
                    <a:gd name="T23" fmla="*/ 136 h 138"/>
                    <a:gd name="T24" fmla="*/ 42 w 138"/>
                    <a:gd name="T25" fmla="*/ 132 h 138"/>
                    <a:gd name="T26" fmla="*/ 32 w 138"/>
                    <a:gd name="T27" fmla="*/ 126 h 138"/>
                    <a:gd name="T28" fmla="*/ 22 w 138"/>
                    <a:gd name="T29" fmla="*/ 118 h 138"/>
                    <a:gd name="T30" fmla="*/ 12 w 138"/>
                    <a:gd name="T31" fmla="*/ 106 h 138"/>
                    <a:gd name="T32" fmla="*/ 6 w 138"/>
                    <a:gd name="T33" fmla="*/ 96 h 138"/>
                    <a:gd name="T34" fmla="*/ 2 w 138"/>
                    <a:gd name="T35" fmla="*/ 82 h 138"/>
                    <a:gd name="T36" fmla="*/ 0 w 138"/>
                    <a:gd name="T37" fmla="*/ 68 h 138"/>
                    <a:gd name="T38" fmla="*/ 0 w 138"/>
                    <a:gd name="T39" fmla="*/ 68 h 138"/>
                    <a:gd name="T40" fmla="*/ 2 w 138"/>
                    <a:gd name="T41" fmla="*/ 54 h 138"/>
                    <a:gd name="T42" fmla="*/ 6 w 138"/>
                    <a:gd name="T43" fmla="*/ 42 h 138"/>
                    <a:gd name="T44" fmla="*/ 12 w 138"/>
                    <a:gd name="T45" fmla="*/ 30 h 138"/>
                    <a:gd name="T46" fmla="*/ 22 w 138"/>
                    <a:gd name="T47" fmla="*/ 20 h 138"/>
                    <a:gd name="T48" fmla="*/ 32 w 138"/>
                    <a:gd name="T49" fmla="*/ 12 h 138"/>
                    <a:gd name="T50" fmla="*/ 42 w 138"/>
                    <a:gd name="T51" fmla="*/ 6 h 138"/>
                    <a:gd name="T52" fmla="*/ 56 w 138"/>
                    <a:gd name="T53" fmla="*/ 2 h 138"/>
                    <a:gd name="T54" fmla="*/ 70 w 138"/>
                    <a:gd name="T55" fmla="*/ 0 h 138"/>
                    <a:gd name="T56" fmla="*/ 70 w 138"/>
                    <a:gd name="T57" fmla="*/ 0 h 138"/>
                    <a:gd name="T58" fmla="*/ 84 w 138"/>
                    <a:gd name="T59" fmla="*/ 2 h 138"/>
                    <a:gd name="T60" fmla="*/ 96 w 138"/>
                    <a:gd name="T61" fmla="*/ 6 h 138"/>
                    <a:gd name="T62" fmla="*/ 108 w 138"/>
                    <a:gd name="T63" fmla="*/ 12 h 138"/>
                    <a:gd name="T64" fmla="*/ 118 w 138"/>
                    <a:gd name="T65" fmla="*/ 20 h 138"/>
                    <a:gd name="T66" fmla="*/ 126 w 138"/>
                    <a:gd name="T67" fmla="*/ 30 h 138"/>
                    <a:gd name="T68" fmla="*/ 132 w 138"/>
                    <a:gd name="T69" fmla="*/ 42 h 138"/>
                    <a:gd name="T70" fmla="*/ 136 w 138"/>
                    <a:gd name="T71" fmla="*/ 54 h 138"/>
                    <a:gd name="T72" fmla="*/ 138 w 138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8" h="138">
                      <a:moveTo>
                        <a:pt x="138" y="68"/>
                      </a:moveTo>
                      <a:lnTo>
                        <a:pt x="138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6" y="106"/>
                      </a:lnTo>
                      <a:lnTo>
                        <a:pt x="118" y="118"/>
                      </a:lnTo>
                      <a:lnTo>
                        <a:pt x="108" y="126"/>
                      </a:lnTo>
                      <a:lnTo>
                        <a:pt x="96" y="132"/>
                      </a:lnTo>
                      <a:lnTo>
                        <a:pt x="84" y="136"/>
                      </a:lnTo>
                      <a:lnTo>
                        <a:pt x="70" y="138"/>
                      </a:lnTo>
                      <a:lnTo>
                        <a:pt x="70" y="138"/>
                      </a:lnTo>
                      <a:lnTo>
                        <a:pt x="56" y="136"/>
                      </a:lnTo>
                      <a:lnTo>
                        <a:pt x="42" y="132"/>
                      </a:lnTo>
                      <a:lnTo>
                        <a:pt x="32" y="126"/>
                      </a:lnTo>
                      <a:lnTo>
                        <a:pt x="22" y="118"/>
                      </a:lnTo>
                      <a:lnTo>
                        <a:pt x="12" y="106"/>
                      </a:lnTo>
                      <a:lnTo>
                        <a:pt x="6" y="96"/>
                      </a:lnTo>
                      <a:lnTo>
                        <a:pt x="2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2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22" y="20"/>
                      </a:lnTo>
                      <a:lnTo>
                        <a:pt x="32" y="12"/>
                      </a:lnTo>
                      <a:lnTo>
                        <a:pt x="42" y="6"/>
                      </a:lnTo>
                      <a:lnTo>
                        <a:pt x="56" y="2"/>
                      </a:lnTo>
                      <a:lnTo>
                        <a:pt x="70" y="0"/>
                      </a:lnTo>
                      <a:lnTo>
                        <a:pt x="70" y="0"/>
                      </a:lnTo>
                      <a:lnTo>
                        <a:pt x="84" y="2"/>
                      </a:lnTo>
                      <a:lnTo>
                        <a:pt x="96" y="6"/>
                      </a:lnTo>
                      <a:lnTo>
                        <a:pt x="108" y="12"/>
                      </a:lnTo>
                      <a:lnTo>
                        <a:pt x="118" y="20"/>
                      </a:lnTo>
                      <a:lnTo>
                        <a:pt x="126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8" y="68"/>
                      </a:lnTo>
                      <a:close/>
                    </a:path>
                  </a:pathLst>
                </a:cu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2437"/>
                <p:cNvSpPr>
                  <a:spLocks/>
                </p:cNvSpPr>
                <p:nvPr/>
              </p:nvSpPr>
              <p:spPr bwMode="auto">
                <a:xfrm>
                  <a:off x="1631950" y="7885286"/>
                  <a:ext cx="219075" cy="219075"/>
                </a:xfrm>
                <a:custGeom>
                  <a:avLst/>
                  <a:gdLst>
                    <a:gd name="T0" fmla="*/ 138 w 138"/>
                    <a:gd name="T1" fmla="*/ 68 h 138"/>
                    <a:gd name="T2" fmla="*/ 138 w 138"/>
                    <a:gd name="T3" fmla="*/ 68 h 138"/>
                    <a:gd name="T4" fmla="*/ 136 w 138"/>
                    <a:gd name="T5" fmla="*/ 82 h 138"/>
                    <a:gd name="T6" fmla="*/ 132 w 138"/>
                    <a:gd name="T7" fmla="*/ 96 h 138"/>
                    <a:gd name="T8" fmla="*/ 126 w 138"/>
                    <a:gd name="T9" fmla="*/ 106 h 138"/>
                    <a:gd name="T10" fmla="*/ 118 w 138"/>
                    <a:gd name="T11" fmla="*/ 118 h 138"/>
                    <a:gd name="T12" fmla="*/ 108 w 138"/>
                    <a:gd name="T13" fmla="*/ 126 h 138"/>
                    <a:gd name="T14" fmla="*/ 96 w 138"/>
                    <a:gd name="T15" fmla="*/ 132 h 138"/>
                    <a:gd name="T16" fmla="*/ 84 w 138"/>
                    <a:gd name="T17" fmla="*/ 136 h 138"/>
                    <a:gd name="T18" fmla="*/ 70 w 138"/>
                    <a:gd name="T19" fmla="*/ 138 h 138"/>
                    <a:gd name="T20" fmla="*/ 70 w 138"/>
                    <a:gd name="T21" fmla="*/ 138 h 138"/>
                    <a:gd name="T22" fmla="*/ 56 w 138"/>
                    <a:gd name="T23" fmla="*/ 136 h 138"/>
                    <a:gd name="T24" fmla="*/ 42 w 138"/>
                    <a:gd name="T25" fmla="*/ 132 h 138"/>
                    <a:gd name="T26" fmla="*/ 32 w 138"/>
                    <a:gd name="T27" fmla="*/ 126 h 138"/>
                    <a:gd name="T28" fmla="*/ 22 w 138"/>
                    <a:gd name="T29" fmla="*/ 118 h 138"/>
                    <a:gd name="T30" fmla="*/ 12 w 138"/>
                    <a:gd name="T31" fmla="*/ 106 h 138"/>
                    <a:gd name="T32" fmla="*/ 6 w 138"/>
                    <a:gd name="T33" fmla="*/ 96 h 138"/>
                    <a:gd name="T34" fmla="*/ 2 w 138"/>
                    <a:gd name="T35" fmla="*/ 82 h 138"/>
                    <a:gd name="T36" fmla="*/ 0 w 138"/>
                    <a:gd name="T37" fmla="*/ 68 h 138"/>
                    <a:gd name="T38" fmla="*/ 0 w 138"/>
                    <a:gd name="T39" fmla="*/ 68 h 138"/>
                    <a:gd name="T40" fmla="*/ 2 w 138"/>
                    <a:gd name="T41" fmla="*/ 54 h 138"/>
                    <a:gd name="T42" fmla="*/ 6 w 138"/>
                    <a:gd name="T43" fmla="*/ 42 h 138"/>
                    <a:gd name="T44" fmla="*/ 12 w 138"/>
                    <a:gd name="T45" fmla="*/ 30 h 138"/>
                    <a:gd name="T46" fmla="*/ 22 w 138"/>
                    <a:gd name="T47" fmla="*/ 20 h 138"/>
                    <a:gd name="T48" fmla="*/ 32 w 138"/>
                    <a:gd name="T49" fmla="*/ 12 h 138"/>
                    <a:gd name="T50" fmla="*/ 42 w 138"/>
                    <a:gd name="T51" fmla="*/ 6 h 138"/>
                    <a:gd name="T52" fmla="*/ 56 w 138"/>
                    <a:gd name="T53" fmla="*/ 2 h 138"/>
                    <a:gd name="T54" fmla="*/ 70 w 138"/>
                    <a:gd name="T55" fmla="*/ 0 h 138"/>
                    <a:gd name="T56" fmla="*/ 70 w 138"/>
                    <a:gd name="T57" fmla="*/ 0 h 138"/>
                    <a:gd name="T58" fmla="*/ 84 w 138"/>
                    <a:gd name="T59" fmla="*/ 2 h 138"/>
                    <a:gd name="T60" fmla="*/ 96 w 138"/>
                    <a:gd name="T61" fmla="*/ 6 h 138"/>
                    <a:gd name="T62" fmla="*/ 108 w 138"/>
                    <a:gd name="T63" fmla="*/ 12 h 138"/>
                    <a:gd name="T64" fmla="*/ 118 w 138"/>
                    <a:gd name="T65" fmla="*/ 20 h 138"/>
                    <a:gd name="T66" fmla="*/ 126 w 138"/>
                    <a:gd name="T67" fmla="*/ 30 h 138"/>
                    <a:gd name="T68" fmla="*/ 132 w 138"/>
                    <a:gd name="T69" fmla="*/ 42 h 138"/>
                    <a:gd name="T70" fmla="*/ 136 w 138"/>
                    <a:gd name="T71" fmla="*/ 54 h 138"/>
                    <a:gd name="T72" fmla="*/ 138 w 138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8" h="138">
                      <a:moveTo>
                        <a:pt x="138" y="68"/>
                      </a:moveTo>
                      <a:lnTo>
                        <a:pt x="138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6" y="106"/>
                      </a:lnTo>
                      <a:lnTo>
                        <a:pt x="118" y="118"/>
                      </a:lnTo>
                      <a:lnTo>
                        <a:pt x="108" y="126"/>
                      </a:lnTo>
                      <a:lnTo>
                        <a:pt x="96" y="132"/>
                      </a:lnTo>
                      <a:lnTo>
                        <a:pt x="84" y="136"/>
                      </a:lnTo>
                      <a:lnTo>
                        <a:pt x="70" y="138"/>
                      </a:lnTo>
                      <a:lnTo>
                        <a:pt x="70" y="138"/>
                      </a:lnTo>
                      <a:lnTo>
                        <a:pt x="56" y="136"/>
                      </a:lnTo>
                      <a:lnTo>
                        <a:pt x="42" y="132"/>
                      </a:lnTo>
                      <a:lnTo>
                        <a:pt x="32" y="126"/>
                      </a:lnTo>
                      <a:lnTo>
                        <a:pt x="22" y="118"/>
                      </a:lnTo>
                      <a:lnTo>
                        <a:pt x="12" y="106"/>
                      </a:lnTo>
                      <a:lnTo>
                        <a:pt x="6" y="96"/>
                      </a:lnTo>
                      <a:lnTo>
                        <a:pt x="2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2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22" y="20"/>
                      </a:lnTo>
                      <a:lnTo>
                        <a:pt x="32" y="12"/>
                      </a:lnTo>
                      <a:lnTo>
                        <a:pt x="42" y="6"/>
                      </a:lnTo>
                      <a:lnTo>
                        <a:pt x="56" y="2"/>
                      </a:lnTo>
                      <a:lnTo>
                        <a:pt x="70" y="0"/>
                      </a:lnTo>
                      <a:lnTo>
                        <a:pt x="70" y="0"/>
                      </a:lnTo>
                      <a:lnTo>
                        <a:pt x="84" y="2"/>
                      </a:lnTo>
                      <a:lnTo>
                        <a:pt x="96" y="6"/>
                      </a:lnTo>
                      <a:lnTo>
                        <a:pt x="108" y="12"/>
                      </a:lnTo>
                      <a:lnTo>
                        <a:pt x="118" y="20"/>
                      </a:lnTo>
                      <a:lnTo>
                        <a:pt x="126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8" y="6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2438"/>
                <p:cNvSpPr>
                  <a:spLocks/>
                </p:cNvSpPr>
                <p:nvPr/>
              </p:nvSpPr>
              <p:spPr bwMode="auto">
                <a:xfrm>
                  <a:off x="590550" y="7885286"/>
                  <a:ext cx="215900" cy="219075"/>
                </a:xfrm>
                <a:custGeom>
                  <a:avLst/>
                  <a:gdLst>
                    <a:gd name="T0" fmla="*/ 136 w 136"/>
                    <a:gd name="T1" fmla="*/ 68 h 138"/>
                    <a:gd name="T2" fmla="*/ 136 w 136"/>
                    <a:gd name="T3" fmla="*/ 68 h 138"/>
                    <a:gd name="T4" fmla="*/ 136 w 136"/>
                    <a:gd name="T5" fmla="*/ 82 h 138"/>
                    <a:gd name="T6" fmla="*/ 132 w 136"/>
                    <a:gd name="T7" fmla="*/ 96 h 138"/>
                    <a:gd name="T8" fmla="*/ 124 w 136"/>
                    <a:gd name="T9" fmla="*/ 106 h 138"/>
                    <a:gd name="T10" fmla="*/ 116 w 136"/>
                    <a:gd name="T11" fmla="*/ 118 h 138"/>
                    <a:gd name="T12" fmla="*/ 106 w 136"/>
                    <a:gd name="T13" fmla="*/ 126 h 138"/>
                    <a:gd name="T14" fmla="*/ 94 w 136"/>
                    <a:gd name="T15" fmla="*/ 132 h 138"/>
                    <a:gd name="T16" fmla="*/ 82 w 136"/>
                    <a:gd name="T17" fmla="*/ 136 h 138"/>
                    <a:gd name="T18" fmla="*/ 68 w 136"/>
                    <a:gd name="T19" fmla="*/ 138 h 138"/>
                    <a:gd name="T20" fmla="*/ 68 w 136"/>
                    <a:gd name="T21" fmla="*/ 138 h 138"/>
                    <a:gd name="T22" fmla="*/ 54 w 136"/>
                    <a:gd name="T23" fmla="*/ 136 h 138"/>
                    <a:gd name="T24" fmla="*/ 42 w 136"/>
                    <a:gd name="T25" fmla="*/ 132 h 138"/>
                    <a:gd name="T26" fmla="*/ 30 w 136"/>
                    <a:gd name="T27" fmla="*/ 126 h 138"/>
                    <a:gd name="T28" fmla="*/ 20 w 136"/>
                    <a:gd name="T29" fmla="*/ 118 h 138"/>
                    <a:gd name="T30" fmla="*/ 12 w 136"/>
                    <a:gd name="T31" fmla="*/ 106 h 138"/>
                    <a:gd name="T32" fmla="*/ 4 w 136"/>
                    <a:gd name="T33" fmla="*/ 96 h 138"/>
                    <a:gd name="T34" fmla="*/ 0 w 136"/>
                    <a:gd name="T35" fmla="*/ 82 h 138"/>
                    <a:gd name="T36" fmla="*/ 0 w 136"/>
                    <a:gd name="T37" fmla="*/ 68 h 138"/>
                    <a:gd name="T38" fmla="*/ 0 w 136"/>
                    <a:gd name="T39" fmla="*/ 68 h 138"/>
                    <a:gd name="T40" fmla="*/ 0 w 136"/>
                    <a:gd name="T41" fmla="*/ 54 h 138"/>
                    <a:gd name="T42" fmla="*/ 4 w 136"/>
                    <a:gd name="T43" fmla="*/ 42 h 138"/>
                    <a:gd name="T44" fmla="*/ 12 w 136"/>
                    <a:gd name="T45" fmla="*/ 30 h 138"/>
                    <a:gd name="T46" fmla="*/ 20 w 136"/>
                    <a:gd name="T47" fmla="*/ 20 h 138"/>
                    <a:gd name="T48" fmla="*/ 30 w 136"/>
                    <a:gd name="T49" fmla="*/ 12 h 138"/>
                    <a:gd name="T50" fmla="*/ 42 w 136"/>
                    <a:gd name="T51" fmla="*/ 6 h 138"/>
                    <a:gd name="T52" fmla="*/ 54 w 136"/>
                    <a:gd name="T53" fmla="*/ 2 h 138"/>
                    <a:gd name="T54" fmla="*/ 68 w 136"/>
                    <a:gd name="T55" fmla="*/ 0 h 138"/>
                    <a:gd name="T56" fmla="*/ 68 w 136"/>
                    <a:gd name="T57" fmla="*/ 0 h 138"/>
                    <a:gd name="T58" fmla="*/ 82 w 136"/>
                    <a:gd name="T59" fmla="*/ 2 h 138"/>
                    <a:gd name="T60" fmla="*/ 94 w 136"/>
                    <a:gd name="T61" fmla="*/ 6 h 138"/>
                    <a:gd name="T62" fmla="*/ 106 w 136"/>
                    <a:gd name="T63" fmla="*/ 12 h 138"/>
                    <a:gd name="T64" fmla="*/ 116 w 136"/>
                    <a:gd name="T65" fmla="*/ 20 h 138"/>
                    <a:gd name="T66" fmla="*/ 124 w 136"/>
                    <a:gd name="T67" fmla="*/ 30 h 138"/>
                    <a:gd name="T68" fmla="*/ 132 w 136"/>
                    <a:gd name="T69" fmla="*/ 42 h 138"/>
                    <a:gd name="T70" fmla="*/ 136 w 136"/>
                    <a:gd name="T71" fmla="*/ 54 h 138"/>
                    <a:gd name="T72" fmla="*/ 136 w 136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6" h="138">
                      <a:moveTo>
                        <a:pt x="136" y="68"/>
                      </a:moveTo>
                      <a:lnTo>
                        <a:pt x="136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4" y="106"/>
                      </a:lnTo>
                      <a:lnTo>
                        <a:pt x="116" y="118"/>
                      </a:lnTo>
                      <a:lnTo>
                        <a:pt x="106" y="126"/>
                      </a:lnTo>
                      <a:lnTo>
                        <a:pt x="94" y="132"/>
                      </a:lnTo>
                      <a:lnTo>
                        <a:pt x="82" y="136"/>
                      </a:lnTo>
                      <a:lnTo>
                        <a:pt x="68" y="138"/>
                      </a:lnTo>
                      <a:lnTo>
                        <a:pt x="68" y="138"/>
                      </a:lnTo>
                      <a:lnTo>
                        <a:pt x="54" y="136"/>
                      </a:lnTo>
                      <a:lnTo>
                        <a:pt x="42" y="132"/>
                      </a:lnTo>
                      <a:lnTo>
                        <a:pt x="30" y="126"/>
                      </a:lnTo>
                      <a:lnTo>
                        <a:pt x="20" y="118"/>
                      </a:lnTo>
                      <a:lnTo>
                        <a:pt x="12" y="106"/>
                      </a:lnTo>
                      <a:lnTo>
                        <a:pt x="4" y="96"/>
                      </a:lnTo>
                      <a:lnTo>
                        <a:pt x="0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54"/>
                      </a:lnTo>
                      <a:lnTo>
                        <a:pt x="4" y="42"/>
                      </a:lnTo>
                      <a:lnTo>
                        <a:pt x="12" y="30"/>
                      </a:lnTo>
                      <a:lnTo>
                        <a:pt x="20" y="20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54" y="2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82" y="2"/>
                      </a:lnTo>
                      <a:lnTo>
                        <a:pt x="94" y="6"/>
                      </a:lnTo>
                      <a:lnTo>
                        <a:pt x="106" y="12"/>
                      </a:lnTo>
                      <a:lnTo>
                        <a:pt x="116" y="20"/>
                      </a:lnTo>
                      <a:lnTo>
                        <a:pt x="124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6" y="68"/>
                      </a:lnTo>
                      <a:close/>
                    </a:path>
                  </a:pathLst>
                </a:cu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2439"/>
                <p:cNvSpPr>
                  <a:spLocks/>
                </p:cNvSpPr>
                <p:nvPr/>
              </p:nvSpPr>
              <p:spPr bwMode="auto">
                <a:xfrm>
                  <a:off x="590550" y="7885286"/>
                  <a:ext cx="215900" cy="219075"/>
                </a:xfrm>
                <a:custGeom>
                  <a:avLst/>
                  <a:gdLst>
                    <a:gd name="T0" fmla="*/ 136 w 136"/>
                    <a:gd name="T1" fmla="*/ 68 h 138"/>
                    <a:gd name="T2" fmla="*/ 136 w 136"/>
                    <a:gd name="T3" fmla="*/ 68 h 138"/>
                    <a:gd name="T4" fmla="*/ 136 w 136"/>
                    <a:gd name="T5" fmla="*/ 82 h 138"/>
                    <a:gd name="T6" fmla="*/ 132 w 136"/>
                    <a:gd name="T7" fmla="*/ 96 h 138"/>
                    <a:gd name="T8" fmla="*/ 124 w 136"/>
                    <a:gd name="T9" fmla="*/ 106 h 138"/>
                    <a:gd name="T10" fmla="*/ 116 w 136"/>
                    <a:gd name="T11" fmla="*/ 118 h 138"/>
                    <a:gd name="T12" fmla="*/ 106 w 136"/>
                    <a:gd name="T13" fmla="*/ 126 h 138"/>
                    <a:gd name="T14" fmla="*/ 94 w 136"/>
                    <a:gd name="T15" fmla="*/ 132 h 138"/>
                    <a:gd name="T16" fmla="*/ 82 w 136"/>
                    <a:gd name="T17" fmla="*/ 136 h 138"/>
                    <a:gd name="T18" fmla="*/ 68 w 136"/>
                    <a:gd name="T19" fmla="*/ 138 h 138"/>
                    <a:gd name="T20" fmla="*/ 68 w 136"/>
                    <a:gd name="T21" fmla="*/ 138 h 138"/>
                    <a:gd name="T22" fmla="*/ 54 w 136"/>
                    <a:gd name="T23" fmla="*/ 136 h 138"/>
                    <a:gd name="T24" fmla="*/ 42 w 136"/>
                    <a:gd name="T25" fmla="*/ 132 h 138"/>
                    <a:gd name="T26" fmla="*/ 30 w 136"/>
                    <a:gd name="T27" fmla="*/ 126 h 138"/>
                    <a:gd name="T28" fmla="*/ 20 w 136"/>
                    <a:gd name="T29" fmla="*/ 118 h 138"/>
                    <a:gd name="T30" fmla="*/ 12 w 136"/>
                    <a:gd name="T31" fmla="*/ 106 h 138"/>
                    <a:gd name="T32" fmla="*/ 4 w 136"/>
                    <a:gd name="T33" fmla="*/ 96 h 138"/>
                    <a:gd name="T34" fmla="*/ 0 w 136"/>
                    <a:gd name="T35" fmla="*/ 82 h 138"/>
                    <a:gd name="T36" fmla="*/ 0 w 136"/>
                    <a:gd name="T37" fmla="*/ 68 h 138"/>
                    <a:gd name="T38" fmla="*/ 0 w 136"/>
                    <a:gd name="T39" fmla="*/ 68 h 138"/>
                    <a:gd name="T40" fmla="*/ 0 w 136"/>
                    <a:gd name="T41" fmla="*/ 54 h 138"/>
                    <a:gd name="T42" fmla="*/ 4 w 136"/>
                    <a:gd name="T43" fmla="*/ 42 h 138"/>
                    <a:gd name="T44" fmla="*/ 12 w 136"/>
                    <a:gd name="T45" fmla="*/ 30 h 138"/>
                    <a:gd name="T46" fmla="*/ 20 w 136"/>
                    <a:gd name="T47" fmla="*/ 20 h 138"/>
                    <a:gd name="T48" fmla="*/ 30 w 136"/>
                    <a:gd name="T49" fmla="*/ 12 h 138"/>
                    <a:gd name="T50" fmla="*/ 42 w 136"/>
                    <a:gd name="T51" fmla="*/ 6 h 138"/>
                    <a:gd name="T52" fmla="*/ 54 w 136"/>
                    <a:gd name="T53" fmla="*/ 2 h 138"/>
                    <a:gd name="T54" fmla="*/ 68 w 136"/>
                    <a:gd name="T55" fmla="*/ 0 h 138"/>
                    <a:gd name="T56" fmla="*/ 68 w 136"/>
                    <a:gd name="T57" fmla="*/ 0 h 138"/>
                    <a:gd name="T58" fmla="*/ 82 w 136"/>
                    <a:gd name="T59" fmla="*/ 2 h 138"/>
                    <a:gd name="T60" fmla="*/ 94 w 136"/>
                    <a:gd name="T61" fmla="*/ 6 h 138"/>
                    <a:gd name="T62" fmla="*/ 106 w 136"/>
                    <a:gd name="T63" fmla="*/ 12 h 138"/>
                    <a:gd name="T64" fmla="*/ 116 w 136"/>
                    <a:gd name="T65" fmla="*/ 20 h 138"/>
                    <a:gd name="T66" fmla="*/ 124 w 136"/>
                    <a:gd name="T67" fmla="*/ 30 h 138"/>
                    <a:gd name="T68" fmla="*/ 132 w 136"/>
                    <a:gd name="T69" fmla="*/ 42 h 138"/>
                    <a:gd name="T70" fmla="*/ 136 w 136"/>
                    <a:gd name="T71" fmla="*/ 54 h 138"/>
                    <a:gd name="T72" fmla="*/ 136 w 136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6" h="138">
                      <a:moveTo>
                        <a:pt x="136" y="68"/>
                      </a:moveTo>
                      <a:lnTo>
                        <a:pt x="136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4" y="106"/>
                      </a:lnTo>
                      <a:lnTo>
                        <a:pt x="116" y="118"/>
                      </a:lnTo>
                      <a:lnTo>
                        <a:pt x="106" y="126"/>
                      </a:lnTo>
                      <a:lnTo>
                        <a:pt x="94" y="132"/>
                      </a:lnTo>
                      <a:lnTo>
                        <a:pt x="82" y="136"/>
                      </a:lnTo>
                      <a:lnTo>
                        <a:pt x="68" y="138"/>
                      </a:lnTo>
                      <a:lnTo>
                        <a:pt x="68" y="138"/>
                      </a:lnTo>
                      <a:lnTo>
                        <a:pt x="54" y="136"/>
                      </a:lnTo>
                      <a:lnTo>
                        <a:pt x="42" y="132"/>
                      </a:lnTo>
                      <a:lnTo>
                        <a:pt x="30" y="126"/>
                      </a:lnTo>
                      <a:lnTo>
                        <a:pt x="20" y="118"/>
                      </a:lnTo>
                      <a:lnTo>
                        <a:pt x="12" y="106"/>
                      </a:lnTo>
                      <a:lnTo>
                        <a:pt x="4" y="96"/>
                      </a:lnTo>
                      <a:lnTo>
                        <a:pt x="0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54"/>
                      </a:lnTo>
                      <a:lnTo>
                        <a:pt x="4" y="42"/>
                      </a:lnTo>
                      <a:lnTo>
                        <a:pt x="12" y="30"/>
                      </a:lnTo>
                      <a:lnTo>
                        <a:pt x="20" y="20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54" y="2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82" y="2"/>
                      </a:lnTo>
                      <a:lnTo>
                        <a:pt x="94" y="6"/>
                      </a:lnTo>
                      <a:lnTo>
                        <a:pt x="106" y="12"/>
                      </a:lnTo>
                      <a:lnTo>
                        <a:pt x="116" y="20"/>
                      </a:lnTo>
                      <a:lnTo>
                        <a:pt x="124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6" y="6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2440"/>
                <p:cNvSpPr>
                  <a:spLocks/>
                </p:cNvSpPr>
                <p:nvPr/>
              </p:nvSpPr>
              <p:spPr bwMode="auto">
                <a:xfrm>
                  <a:off x="609600" y="6961361"/>
                  <a:ext cx="1216025" cy="1466850"/>
                </a:xfrm>
                <a:custGeom>
                  <a:avLst/>
                  <a:gdLst>
                    <a:gd name="T0" fmla="*/ 766 w 766"/>
                    <a:gd name="T1" fmla="*/ 462 h 924"/>
                    <a:gd name="T2" fmla="*/ 758 w 766"/>
                    <a:gd name="T3" fmla="*/ 554 h 924"/>
                    <a:gd name="T4" fmla="*/ 736 w 766"/>
                    <a:gd name="T5" fmla="*/ 640 h 924"/>
                    <a:gd name="T6" fmla="*/ 700 w 766"/>
                    <a:gd name="T7" fmla="*/ 720 h 924"/>
                    <a:gd name="T8" fmla="*/ 654 w 766"/>
                    <a:gd name="T9" fmla="*/ 788 h 924"/>
                    <a:gd name="T10" fmla="*/ 596 w 766"/>
                    <a:gd name="T11" fmla="*/ 844 h 924"/>
                    <a:gd name="T12" fmla="*/ 532 w 766"/>
                    <a:gd name="T13" fmla="*/ 886 h 924"/>
                    <a:gd name="T14" fmla="*/ 460 w 766"/>
                    <a:gd name="T15" fmla="*/ 914 h 924"/>
                    <a:gd name="T16" fmla="*/ 402 w 766"/>
                    <a:gd name="T17" fmla="*/ 922 h 924"/>
                    <a:gd name="T18" fmla="*/ 382 w 766"/>
                    <a:gd name="T19" fmla="*/ 924 h 924"/>
                    <a:gd name="T20" fmla="*/ 344 w 766"/>
                    <a:gd name="T21" fmla="*/ 920 h 924"/>
                    <a:gd name="T22" fmla="*/ 268 w 766"/>
                    <a:gd name="T23" fmla="*/ 902 h 924"/>
                    <a:gd name="T24" fmla="*/ 200 w 766"/>
                    <a:gd name="T25" fmla="*/ 868 h 924"/>
                    <a:gd name="T26" fmla="*/ 140 w 766"/>
                    <a:gd name="T27" fmla="*/ 818 h 924"/>
                    <a:gd name="T28" fmla="*/ 88 w 766"/>
                    <a:gd name="T29" fmla="*/ 756 h 924"/>
                    <a:gd name="T30" fmla="*/ 46 w 766"/>
                    <a:gd name="T31" fmla="*/ 682 h 924"/>
                    <a:gd name="T32" fmla="*/ 18 w 766"/>
                    <a:gd name="T33" fmla="*/ 598 h 924"/>
                    <a:gd name="T34" fmla="*/ 2 w 766"/>
                    <a:gd name="T35" fmla="*/ 508 h 924"/>
                    <a:gd name="T36" fmla="*/ 0 w 766"/>
                    <a:gd name="T37" fmla="*/ 462 h 924"/>
                    <a:gd name="T38" fmla="*/ 8 w 766"/>
                    <a:gd name="T39" fmla="*/ 368 h 924"/>
                    <a:gd name="T40" fmla="*/ 30 w 766"/>
                    <a:gd name="T41" fmla="*/ 282 h 924"/>
                    <a:gd name="T42" fmla="*/ 66 w 766"/>
                    <a:gd name="T43" fmla="*/ 202 h 924"/>
                    <a:gd name="T44" fmla="*/ 112 w 766"/>
                    <a:gd name="T45" fmla="*/ 134 h 924"/>
                    <a:gd name="T46" fmla="*/ 168 w 766"/>
                    <a:gd name="T47" fmla="*/ 78 h 924"/>
                    <a:gd name="T48" fmla="*/ 234 w 766"/>
                    <a:gd name="T49" fmla="*/ 36 h 924"/>
                    <a:gd name="T50" fmla="*/ 306 w 766"/>
                    <a:gd name="T51" fmla="*/ 8 h 924"/>
                    <a:gd name="T52" fmla="*/ 364 w 766"/>
                    <a:gd name="T53" fmla="*/ 0 h 924"/>
                    <a:gd name="T54" fmla="*/ 382 w 766"/>
                    <a:gd name="T55" fmla="*/ 0 h 924"/>
                    <a:gd name="T56" fmla="*/ 422 w 766"/>
                    <a:gd name="T57" fmla="*/ 2 h 924"/>
                    <a:gd name="T58" fmla="*/ 496 w 766"/>
                    <a:gd name="T59" fmla="*/ 20 h 924"/>
                    <a:gd name="T60" fmla="*/ 566 w 766"/>
                    <a:gd name="T61" fmla="*/ 54 h 924"/>
                    <a:gd name="T62" fmla="*/ 626 w 766"/>
                    <a:gd name="T63" fmla="*/ 104 h 924"/>
                    <a:gd name="T64" fmla="*/ 678 w 766"/>
                    <a:gd name="T65" fmla="*/ 168 h 924"/>
                    <a:gd name="T66" fmla="*/ 720 w 766"/>
                    <a:gd name="T67" fmla="*/ 240 h 924"/>
                    <a:gd name="T68" fmla="*/ 748 w 766"/>
                    <a:gd name="T69" fmla="*/ 324 h 924"/>
                    <a:gd name="T70" fmla="*/ 764 w 766"/>
                    <a:gd name="T71" fmla="*/ 414 h 9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766" h="924">
                      <a:moveTo>
                        <a:pt x="766" y="462"/>
                      </a:moveTo>
                      <a:lnTo>
                        <a:pt x="766" y="462"/>
                      </a:lnTo>
                      <a:lnTo>
                        <a:pt x="764" y="508"/>
                      </a:lnTo>
                      <a:lnTo>
                        <a:pt x="758" y="554"/>
                      </a:lnTo>
                      <a:lnTo>
                        <a:pt x="748" y="598"/>
                      </a:lnTo>
                      <a:lnTo>
                        <a:pt x="736" y="640"/>
                      </a:lnTo>
                      <a:lnTo>
                        <a:pt x="720" y="682"/>
                      </a:lnTo>
                      <a:lnTo>
                        <a:pt x="700" y="720"/>
                      </a:lnTo>
                      <a:lnTo>
                        <a:pt x="678" y="756"/>
                      </a:lnTo>
                      <a:lnTo>
                        <a:pt x="654" y="788"/>
                      </a:lnTo>
                      <a:lnTo>
                        <a:pt x="626" y="818"/>
                      </a:lnTo>
                      <a:lnTo>
                        <a:pt x="596" y="844"/>
                      </a:lnTo>
                      <a:lnTo>
                        <a:pt x="566" y="868"/>
                      </a:lnTo>
                      <a:lnTo>
                        <a:pt x="532" y="886"/>
                      </a:lnTo>
                      <a:lnTo>
                        <a:pt x="496" y="902"/>
                      </a:lnTo>
                      <a:lnTo>
                        <a:pt x="460" y="914"/>
                      </a:lnTo>
                      <a:lnTo>
                        <a:pt x="422" y="920"/>
                      </a:lnTo>
                      <a:lnTo>
                        <a:pt x="402" y="922"/>
                      </a:lnTo>
                      <a:lnTo>
                        <a:pt x="382" y="924"/>
                      </a:lnTo>
                      <a:lnTo>
                        <a:pt x="382" y="924"/>
                      </a:lnTo>
                      <a:lnTo>
                        <a:pt x="364" y="922"/>
                      </a:lnTo>
                      <a:lnTo>
                        <a:pt x="344" y="920"/>
                      </a:lnTo>
                      <a:lnTo>
                        <a:pt x="306" y="914"/>
                      </a:lnTo>
                      <a:lnTo>
                        <a:pt x="268" y="902"/>
                      </a:lnTo>
                      <a:lnTo>
                        <a:pt x="234" y="886"/>
                      </a:lnTo>
                      <a:lnTo>
                        <a:pt x="200" y="868"/>
                      </a:lnTo>
                      <a:lnTo>
                        <a:pt x="168" y="844"/>
                      </a:lnTo>
                      <a:lnTo>
                        <a:pt x="140" y="818"/>
                      </a:lnTo>
                      <a:lnTo>
                        <a:pt x="112" y="788"/>
                      </a:lnTo>
                      <a:lnTo>
                        <a:pt x="88" y="756"/>
                      </a:lnTo>
                      <a:lnTo>
                        <a:pt x="66" y="720"/>
                      </a:lnTo>
                      <a:lnTo>
                        <a:pt x="46" y="682"/>
                      </a:lnTo>
                      <a:lnTo>
                        <a:pt x="30" y="640"/>
                      </a:lnTo>
                      <a:lnTo>
                        <a:pt x="18" y="598"/>
                      </a:lnTo>
                      <a:lnTo>
                        <a:pt x="8" y="554"/>
                      </a:lnTo>
                      <a:lnTo>
                        <a:pt x="2" y="508"/>
                      </a:lnTo>
                      <a:lnTo>
                        <a:pt x="0" y="462"/>
                      </a:lnTo>
                      <a:lnTo>
                        <a:pt x="0" y="462"/>
                      </a:lnTo>
                      <a:lnTo>
                        <a:pt x="2" y="414"/>
                      </a:lnTo>
                      <a:lnTo>
                        <a:pt x="8" y="368"/>
                      </a:lnTo>
                      <a:lnTo>
                        <a:pt x="18" y="324"/>
                      </a:lnTo>
                      <a:lnTo>
                        <a:pt x="30" y="282"/>
                      </a:lnTo>
                      <a:lnTo>
                        <a:pt x="46" y="240"/>
                      </a:lnTo>
                      <a:lnTo>
                        <a:pt x="66" y="202"/>
                      </a:lnTo>
                      <a:lnTo>
                        <a:pt x="88" y="168"/>
                      </a:lnTo>
                      <a:lnTo>
                        <a:pt x="112" y="134"/>
                      </a:lnTo>
                      <a:lnTo>
                        <a:pt x="140" y="104"/>
                      </a:lnTo>
                      <a:lnTo>
                        <a:pt x="168" y="78"/>
                      </a:lnTo>
                      <a:lnTo>
                        <a:pt x="200" y="54"/>
                      </a:lnTo>
                      <a:lnTo>
                        <a:pt x="234" y="36"/>
                      </a:lnTo>
                      <a:lnTo>
                        <a:pt x="268" y="20"/>
                      </a:lnTo>
                      <a:lnTo>
                        <a:pt x="306" y="8"/>
                      </a:lnTo>
                      <a:lnTo>
                        <a:pt x="344" y="2"/>
                      </a:lnTo>
                      <a:lnTo>
                        <a:pt x="364" y="0"/>
                      </a:lnTo>
                      <a:lnTo>
                        <a:pt x="382" y="0"/>
                      </a:lnTo>
                      <a:lnTo>
                        <a:pt x="382" y="0"/>
                      </a:lnTo>
                      <a:lnTo>
                        <a:pt x="402" y="0"/>
                      </a:lnTo>
                      <a:lnTo>
                        <a:pt x="422" y="2"/>
                      </a:lnTo>
                      <a:lnTo>
                        <a:pt x="460" y="8"/>
                      </a:lnTo>
                      <a:lnTo>
                        <a:pt x="496" y="20"/>
                      </a:lnTo>
                      <a:lnTo>
                        <a:pt x="532" y="36"/>
                      </a:lnTo>
                      <a:lnTo>
                        <a:pt x="566" y="54"/>
                      </a:lnTo>
                      <a:lnTo>
                        <a:pt x="596" y="78"/>
                      </a:lnTo>
                      <a:lnTo>
                        <a:pt x="626" y="104"/>
                      </a:lnTo>
                      <a:lnTo>
                        <a:pt x="654" y="134"/>
                      </a:lnTo>
                      <a:lnTo>
                        <a:pt x="678" y="168"/>
                      </a:lnTo>
                      <a:lnTo>
                        <a:pt x="700" y="202"/>
                      </a:lnTo>
                      <a:lnTo>
                        <a:pt x="720" y="240"/>
                      </a:lnTo>
                      <a:lnTo>
                        <a:pt x="736" y="282"/>
                      </a:lnTo>
                      <a:lnTo>
                        <a:pt x="748" y="324"/>
                      </a:lnTo>
                      <a:lnTo>
                        <a:pt x="758" y="368"/>
                      </a:lnTo>
                      <a:lnTo>
                        <a:pt x="764" y="414"/>
                      </a:lnTo>
                      <a:lnTo>
                        <a:pt x="766" y="462"/>
                      </a:lnTo>
                      <a:close/>
                    </a:path>
                  </a:pathLst>
                </a:custGeom>
                <a:solidFill>
                  <a:srgbClr val="FFE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2441"/>
                <p:cNvSpPr>
                  <a:spLocks/>
                </p:cNvSpPr>
                <p:nvPr/>
              </p:nvSpPr>
              <p:spPr bwMode="auto">
                <a:xfrm>
                  <a:off x="609600" y="6961361"/>
                  <a:ext cx="1216025" cy="1466850"/>
                </a:xfrm>
                <a:custGeom>
                  <a:avLst/>
                  <a:gdLst>
                    <a:gd name="T0" fmla="*/ 766 w 766"/>
                    <a:gd name="T1" fmla="*/ 462 h 924"/>
                    <a:gd name="T2" fmla="*/ 758 w 766"/>
                    <a:gd name="T3" fmla="*/ 554 h 924"/>
                    <a:gd name="T4" fmla="*/ 736 w 766"/>
                    <a:gd name="T5" fmla="*/ 640 h 924"/>
                    <a:gd name="T6" fmla="*/ 700 w 766"/>
                    <a:gd name="T7" fmla="*/ 720 h 924"/>
                    <a:gd name="T8" fmla="*/ 654 w 766"/>
                    <a:gd name="T9" fmla="*/ 788 h 924"/>
                    <a:gd name="T10" fmla="*/ 596 w 766"/>
                    <a:gd name="T11" fmla="*/ 844 h 924"/>
                    <a:gd name="T12" fmla="*/ 532 w 766"/>
                    <a:gd name="T13" fmla="*/ 886 h 924"/>
                    <a:gd name="T14" fmla="*/ 460 w 766"/>
                    <a:gd name="T15" fmla="*/ 914 h 924"/>
                    <a:gd name="T16" fmla="*/ 402 w 766"/>
                    <a:gd name="T17" fmla="*/ 922 h 924"/>
                    <a:gd name="T18" fmla="*/ 382 w 766"/>
                    <a:gd name="T19" fmla="*/ 924 h 924"/>
                    <a:gd name="T20" fmla="*/ 344 w 766"/>
                    <a:gd name="T21" fmla="*/ 920 h 924"/>
                    <a:gd name="T22" fmla="*/ 268 w 766"/>
                    <a:gd name="T23" fmla="*/ 902 h 924"/>
                    <a:gd name="T24" fmla="*/ 200 w 766"/>
                    <a:gd name="T25" fmla="*/ 868 h 924"/>
                    <a:gd name="T26" fmla="*/ 140 w 766"/>
                    <a:gd name="T27" fmla="*/ 818 h 924"/>
                    <a:gd name="T28" fmla="*/ 88 w 766"/>
                    <a:gd name="T29" fmla="*/ 756 h 924"/>
                    <a:gd name="T30" fmla="*/ 46 w 766"/>
                    <a:gd name="T31" fmla="*/ 682 h 924"/>
                    <a:gd name="T32" fmla="*/ 18 w 766"/>
                    <a:gd name="T33" fmla="*/ 598 h 924"/>
                    <a:gd name="T34" fmla="*/ 2 w 766"/>
                    <a:gd name="T35" fmla="*/ 508 h 924"/>
                    <a:gd name="T36" fmla="*/ 0 w 766"/>
                    <a:gd name="T37" fmla="*/ 462 h 924"/>
                    <a:gd name="T38" fmla="*/ 8 w 766"/>
                    <a:gd name="T39" fmla="*/ 368 h 924"/>
                    <a:gd name="T40" fmla="*/ 30 w 766"/>
                    <a:gd name="T41" fmla="*/ 282 h 924"/>
                    <a:gd name="T42" fmla="*/ 66 w 766"/>
                    <a:gd name="T43" fmla="*/ 202 h 924"/>
                    <a:gd name="T44" fmla="*/ 112 w 766"/>
                    <a:gd name="T45" fmla="*/ 134 h 924"/>
                    <a:gd name="T46" fmla="*/ 168 w 766"/>
                    <a:gd name="T47" fmla="*/ 78 h 924"/>
                    <a:gd name="T48" fmla="*/ 234 w 766"/>
                    <a:gd name="T49" fmla="*/ 36 h 924"/>
                    <a:gd name="T50" fmla="*/ 306 w 766"/>
                    <a:gd name="T51" fmla="*/ 8 h 924"/>
                    <a:gd name="T52" fmla="*/ 364 w 766"/>
                    <a:gd name="T53" fmla="*/ 0 h 924"/>
                    <a:gd name="T54" fmla="*/ 382 w 766"/>
                    <a:gd name="T55" fmla="*/ 0 h 924"/>
                    <a:gd name="T56" fmla="*/ 422 w 766"/>
                    <a:gd name="T57" fmla="*/ 2 h 924"/>
                    <a:gd name="T58" fmla="*/ 496 w 766"/>
                    <a:gd name="T59" fmla="*/ 20 h 924"/>
                    <a:gd name="T60" fmla="*/ 566 w 766"/>
                    <a:gd name="T61" fmla="*/ 54 h 924"/>
                    <a:gd name="T62" fmla="*/ 626 w 766"/>
                    <a:gd name="T63" fmla="*/ 104 h 924"/>
                    <a:gd name="T64" fmla="*/ 678 w 766"/>
                    <a:gd name="T65" fmla="*/ 168 h 924"/>
                    <a:gd name="T66" fmla="*/ 720 w 766"/>
                    <a:gd name="T67" fmla="*/ 240 h 924"/>
                    <a:gd name="T68" fmla="*/ 748 w 766"/>
                    <a:gd name="T69" fmla="*/ 324 h 924"/>
                    <a:gd name="T70" fmla="*/ 764 w 766"/>
                    <a:gd name="T71" fmla="*/ 414 h 9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766" h="924">
                      <a:moveTo>
                        <a:pt x="766" y="462"/>
                      </a:moveTo>
                      <a:lnTo>
                        <a:pt x="766" y="462"/>
                      </a:lnTo>
                      <a:lnTo>
                        <a:pt x="764" y="508"/>
                      </a:lnTo>
                      <a:lnTo>
                        <a:pt x="758" y="554"/>
                      </a:lnTo>
                      <a:lnTo>
                        <a:pt x="748" y="598"/>
                      </a:lnTo>
                      <a:lnTo>
                        <a:pt x="736" y="640"/>
                      </a:lnTo>
                      <a:lnTo>
                        <a:pt x="720" y="682"/>
                      </a:lnTo>
                      <a:lnTo>
                        <a:pt x="700" y="720"/>
                      </a:lnTo>
                      <a:lnTo>
                        <a:pt x="678" y="756"/>
                      </a:lnTo>
                      <a:lnTo>
                        <a:pt x="654" y="788"/>
                      </a:lnTo>
                      <a:lnTo>
                        <a:pt x="626" y="818"/>
                      </a:lnTo>
                      <a:lnTo>
                        <a:pt x="596" y="844"/>
                      </a:lnTo>
                      <a:lnTo>
                        <a:pt x="566" y="868"/>
                      </a:lnTo>
                      <a:lnTo>
                        <a:pt x="532" y="886"/>
                      </a:lnTo>
                      <a:lnTo>
                        <a:pt x="496" y="902"/>
                      </a:lnTo>
                      <a:lnTo>
                        <a:pt x="460" y="914"/>
                      </a:lnTo>
                      <a:lnTo>
                        <a:pt x="422" y="920"/>
                      </a:lnTo>
                      <a:lnTo>
                        <a:pt x="402" y="922"/>
                      </a:lnTo>
                      <a:lnTo>
                        <a:pt x="382" y="924"/>
                      </a:lnTo>
                      <a:lnTo>
                        <a:pt x="382" y="924"/>
                      </a:lnTo>
                      <a:lnTo>
                        <a:pt x="364" y="922"/>
                      </a:lnTo>
                      <a:lnTo>
                        <a:pt x="344" y="920"/>
                      </a:lnTo>
                      <a:lnTo>
                        <a:pt x="306" y="914"/>
                      </a:lnTo>
                      <a:lnTo>
                        <a:pt x="268" y="902"/>
                      </a:lnTo>
                      <a:lnTo>
                        <a:pt x="234" y="886"/>
                      </a:lnTo>
                      <a:lnTo>
                        <a:pt x="200" y="868"/>
                      </a:lnTo>
                      <a:lnTo>
                        <a:pt x="168" y="844"/>
                      </a:lnTo>
                      <a:lnTo>
                        <a:pt x="140" y="818"/>
                      </a:lnTo>
                      <a:lnTo>
                        <a:pt x="112" y="788"/>
                      </a:lnTo>
                      <a:lnTo>
                        <a:pt x="88" y="756"/>
                      </a:lnTo>
                      <a:lnTo>
                        <a:pt x="66" y="720"/>
                      </a:lnTo>
                      <a:lnTo>
                        <a:pt x="46" y="682"/>
                      </a:lnTo>
                      <a:lnTo>
                        <a:pt x="30" y="640"/>
                      </a:lnTo>
                      <a:lnTo>
                        <a:pt x="18" y="598"/>
                      </a:lnTo>
                      <a:lnTo>
                        <a:pt x="8" y="554"/>
                      </a:lnTo>
                      <a:lnTo>
                        <a:pt x="2" y="508"/>
                      </a:lnTo>
                      <a:lnTo>
                        <a:pt x="0" y="462"/>
                      </a:lnTo>
                      <a:lnTo>
                        <a:pt x="0" y="462"/>
                      </a:lnTo>
                      <a:lnTo>
                        <a:pt x="2" y="414"/>
                      </a:lnTo>
                      <a:lnTo>
                        <a:pt x="8" y="368"/>
                      </a:lnTo>
                      <a:lnTo>
                        <a:pt x="18" y="324"/>
                      </a:lnTo>
                      <a:lnTo>
                        <a:pt x="30" y="282"/>
                      </a:lnTo>
                      <a:lnTo>
                        <a:pt x="46" y="240"/>
                      </a:lnTo>
                      <a:lnTo>
                        <a:pt x="66" y="202"/>
                      </a:lnTo>
                      <a:lnTo>
                        <a:pt x="88" y="168"/>
                      </a:lnTo>
                      <a:lnTo>
                        <a:pt x="112" y="134"/>
                      </a:lnTo>
                      <a:lnTo>
                        <a:pt x="140" y="104"/>
                      </a:lnTo>
                      <a:lnTo>
                        <a:pt x="168" y="78"/>
                      </a:lnTo>
                      <a:lnTo>
                        <a:pt x="200" y="54"/>
                      </a:lnTo>
                      <a:lnTo>
                        <a:pt x="234" y="36"/>
                      </a:lnTo>
                      <a:lnTo>
                        <a:pt x="268" y="20"/>
                      </a:lnTo>
                      <a:lnTo>
                        <a:pt x="306" y="8"/>
                      </a:lnTo>
                      <a:lnTo>
                        <a:pt x="344" y="2"/>
                      </a:lnTo>
                      <a:lnTo>
                        <a:pt x="364" y="0"/>
                      </a:lnTo>
                      <a:lnTo>
                        <a:pt x="382" y="0"/>
                      </a:lnTo>
                      <a:lnTo>
                        <a:pt x="382" y="0"/>
                      </a:lnTo>
                      <a:lnTo>
                        <a:pt x="402" y="0"/>
                      </a:lnTo>
                      <a:lnTo>
                        <a:pt x="422" y="2"/>
                      </a:lnTo>
                      <a:lnTo>
                        <a:pt x="460" y="8"/>
                      </a:lnTo>
                      <a:lnTo>
                        <a:pt x="496" y="20"/>
                      </a:lnTo>
                      <a:lnTo>
                        <a:pt x="532" y="36"/>
                      </a:lnTo>
                      <a:lnTo>
                        <a:pt x="566" y="54"/>
                      </a:lnTo>
                      <a:lnTo>
                        <a:pt x="596" y="78"/>
                      </a:lnTo>
                      <a:lnTo>
                        <a:pt x="626" y="104"/>
                      </a:lnTo>
                      <a:lnTo>
                        <a:pt x="654" y="134"/>
                      </a:lnTo>
                      <a:lnTo>
                        <a:pt x="678" y="168"/>
                      </a:lnTo>
                      <a:lnTo>
                        <a:pt x="700" y="202"/>
                      </a:lnTo>
                      <a:lnTo>
                        <a:pt x="720" y="240"/>
                      </a:lnTo>
                      <a:lnTo>
                        <a:pt x="736" y="282"/>
                      </a:lnTo>
                      <a:lnTo>
                        <a:pt x="748" y="324"/>
                      </a:lnTo>
                      <a:lnTo>
                        <a:pt x="758" y="368"/>
                      </a:lnTo>
                      <a:lnTo>
                        <a:pt x="764" y="414"/>
                      </a:lnTo>
                      <a:lnTo>
                        <a:pt x="766" y="462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2442"/>
                <p:cNvSpPr>
                  <a:spLocks/>
                </p:cNvSpPr>
                <p:nvPr/>
              </p:nvSpPr>
              <p:spPr bwMode="auto">
                <a:xfrm>
                  <a:off x="711200" y="7316961"/>
                  <a:ext cx="1012825" cy="1228725"/>
                </a:xfrm>
                <a:custGeom>
                  <a:avLst/>
                  <a:gdLst>
                    <a:gd name="T0" fmla="*/ 4 w 638"/>
                    <a:gd name="T1" fmla="*/ 480 h 774"/>
                    <a:gd name="T2" fmla="*/ 4 w 638"/>
                    <a:gd name="T3" fmla="*/ 480 h 774"/>
                    <a:gd name="T4" fmla="*/ 10 w 638"/>
                    <a:gd name="T5" fmla="*/ 510 h 774"/>
                    <a:gd name="T6" fmla="*/ 18 w 638"/>
                    <a:gd name="T7" fmla="*/ 538 h 774"/>
                    <a:gd name="T8" fmla="*/ 30 w 638"/>
                    <a:gd name="T9" fmla="*/ 566 h 774"/>
                    <a:gd name="T10" fmla="*/ 44 w 638"/>
                    <a:gd name="T11" fmla="*/ 594 h 774"/>
                    <a:gd name="T12" fmla="*/ 60 w 638"/>
                    <a:gd name="T13" fmla="*/ 620 h 774"/>
                    <a:gd name="T14" fmla="*/ 78 w 638"/>
                    <a:gd name="T15" fmla="*/ 644 h 774"/>
                    <a:gd name="T16" fmla="*/ 96 w 638"/>
                    <a:gd name="T17" fmla="*/ 666 h 774"/>
                    <a:gd name="T18" fmla="*/ 118 w 638"/>
                    <a:gd name="T19" fmla="*/ 686 h 774"/>
                    <a:gd name="T20" fmla="*/ 140 w 638"/>
                    <a:gd name="T21" fmla="*/ 706 h 774"/>
                    <a:gd name="T22" fmla="*/ 164 w 638"/>
                    <a:gd name="T23" fmla="*/ 724 h 774"/>
                    <a:gd name="T24" fmla="*/ 188 w 638"/>
                    <a:gd name="T25" fmla="*/ 738 h 774"/>
                    <a:gd name="T26" fmla="*/ 214 w 638"/>
                    <a:gd name="T27" fmla="*/ 750 h 774"/>
                    <a:gd name="T28" fmla="*/ 240 w 638"/>
                    <a:gd name="T29" fmla="*/ 760 h 774"/>
                    <a:gd name="T30" fmla="*/ 266 w 638"/>
                    <a:gd name="T31" fmla="*/ 768 h 774"/>
                    <a:gd name="T32" fmla="*/ 294 w 638"/>
                    <a:gd name="T33" fmla="*/ 772 h 774"/>
                    <a:gd name="T34" fmla="*/ 320 w 638"/>
                    <a:gd name="T35" fmla="*/ 774 h 774"/>
                    <a:gd name="T36" fmla="*/ 320 w 638"/>
                    <a:gd name="T37" fmla="*/ 774 h 774"/>
                    <a:gd name="T38" fmla="*/ 348 w 638"/>
                    <a:gd name="T39" fmla="*/ 772 h 774"/>
                    <a:gd name="T40" fmla="*/ 374 w 638"/>
                    <a:gd name="T41" fmla="*/ 768 h 774"/>
                    <a:gd name="T42" fmla="*/ 400 w 638"/>
                    <a:gd name="T43" fmla="*/ 762 h 774"/>
                    <a:gd name="T44" fmla="*/ 426 w 638"/>
                    <a:gd name="T45" fmla="*/ 752 h 774"/>
                    <a:gd name="T46" fmla="*/ 450 w 638"/>
                    <a:gd name="T47" fmla="*/ 742 h 774"/>
                    <a:gd name="T48" fmla="*/ 474 w 638"/>
                    <a:gd name="T49" fmla="*/ 728 h 774"/>
                    <a:gd name="T50" fmla="*/ 498 w 638"/>
                    <a:gd name="T51" fmla="*/ 712 h 774"/>
                    <a:gd name="T52" fmla="*/ 520 w 638"/>
                    <a:gd name="T53" fmla="*/ 694 h 774"/>
                    <a:gd name="T54" fmla="*/ 542 w 638"/>
                    <a:gd name="T55" fmla="*/ 672 h 774"/>
                    <a:gd name="T56" fmla="*/ 560 w 638"/>
                    <a:gd name="T57" fmla="*/ 650 h 774"/>
                    <a:gd name="T58" fmla="*/ 578 w 638"/>
                    <a:gd name="T59" fmla="*/ 626 h 774"/>
                    <a:gd name="T60" fmla="*/ 594 w 638"/>
                    <a:gd name="T61" fmla="*/ 600 h 774"/>
                    <a:gd name="T62" fmla="*/ 608 w 638"/>
                    <a:gd name="T63" fmla="*/ 574 h 774"/>
                    <a:gd name="T64" fmla="*/ 620 w 638"/>
                    <a:gd name="T65" fmla="*/ 544 h 774"/>
                    <a:gd name="T66" fmla="*/ 630 w 638"/>
                    <a:gd name="T67" fmla="*/ 514 h 774"/>
                    <a:gd name="T68" fmla="*/ 638 w 638"/>
                    <a:gd name="T69" fmla="*/ 482 h 774"/>
                    <a:gd name="T70" fmla="*/ 638 w 638"/>
                    <a:gd name="T71" fmla="*/ 62 h 774"/>
                    <a:gd name="T72" fmla="*/ 638 w 638"/>
                    <a:gd name="T73" fmla="*/ 62 h 774"/>
                    <a:gd name="T74" fmla="*/ 604 w 638"/>
                    <a:gd name="T75" fmla="*/ 52 h 774"/>
                    <a:gd name="T76" fmla="*/ 520 w 638"/>
                    <a:gd name="T77" fmla="*/ 32 h 774"/>
                    <a:gd name="T78" fmla="*/ 470 w 638"/>
                    <a:gd name="T79" fmla="*/ 20 h 774"/>
                    <a:gd name="T80" fmla="*/ 418 w 638"/>
                    <a:gd name="T81" fmla="*/ 10 h 774"/>
                    <a:gd name="T82" fmla="*/ 368 w 638"/>
                    <a:gd name="T83" fmla="*/ 2 h 774"/>
                    <a:gd name="T84" fmla="*/ 344 w 638"/>
                    <a:gd name="T85" fmla="*/ 0 h 774"/>
                    <a:gd name="T86" fmla="*/ 324 w 638"/>
                    <a:gd name="T87" fmla="*/ 0 h 774"/>
                    <a:gd name="T88" fmla="*/ 324 w 638"/>
                    <a:gd name="T89" fmla="*/ 0 h 774"/>
                    <a:gd name="T90" fmla="*/ 288 w 638"/>
                    <a:gd name="T91" fmla="*/ 0 h 774"/>
                    <a:gd name="T92" fmla="*/ 254 w 638"/>
                    <a:gd name="T93" fmla="*/ 2 h 774"/>
                    <a:gd name="T94" fmla="*/ 190 w 638"/>
                    <a:gd name="T95" fmla="*/ 10 h 774"/>
                    <a:gd name="T96" fmla="*/ 136 w 638"/>
                    <a:gd name="T97" fmla="*/ 20 h 774"/>
                    <a:gd name="T98" fmla="*/ 88 w 638"/>
                    <a:gd name="T99" fmla="*/ 32 h 774"/>
                    <a:gd name="T100" fmla="*/ 50 w 638"/>
                    <a:gd name="T101" fmla="*/ 42 h 774"/>
                    <a:gd name="T102" fmla="*/ 22 w 638"/>
                    <a:gd name="T103" fmla="*/ 52 h 774"/>
                    <a:gd name="T104" fmla="*/ 0 w 638"/>
                    <a:gd name="T105" fmla="*/ 62 h 774"/>
                    <a:gd name="T106" fmla="*/ 4 w 638"/>
                    <a:gd name="T107" fmla="*/ 480 h 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8" h="774">
                      <a:moveTo>
                        <a:pt x="4" y="480"/>
                      </a:moveTo>
                      <a:lnTo>
                        <a:pt x="4" y="480"/>
                      </a:lnTo>
                      <a:lnTo>
                        <a:pt x="10" y="510"/>
                      </a:lnTo>
                      <a:lnTo>
                        <a:pt x="18" y="538"/>
                      </a:lnTo>
                      <a:lnTo>
                        <a:pt x="30" y="566"/>
                      </a:lnTo>
                      <a:lnTo>
                        <a:pt x="44" y="594"/>
                      </a:lnTo>
                      <a:lnTo>
                        <a:pt x="60" y="620"/>
                      </a:lnTo>
                      <a:lnTo>
                        <a:pt x="78" y="644"/>
                      </a:lnTo>
                      <a:lnTo>
                        <a:pt x="96" y="666"/>
                      </a:lnTo>
                      <a:lnTo>
                        <a:pt x="118" y="686"/>
                      </a:lnTo>
                      <a:lnTo>
                        <a:pt x="140" y="706"/>
                      </a:lnTo>
                      <a:lnTo>
                        <a:pt x="164" y="724"/>
                      </a:lnTo>
                      <a:lnTo>
                        <a:pt x="188" y="738"/>
                      </a:lnTo>
                      <a:lnTo>
                        <a:pt x="214" y="750"/>
                      </a:lnTo>
                      <a:lnTo>
                        <a:pt x="240" y="760"/>
                      </a:lnTo>
                      <a:lnTo>
                        <a:pt x="266" y="768"/>
                      </a:lnTo>
                      <a:lnTo>
                        <a:pt x="294" y="772"/>
                      </a:lnTo>
                      <a:lnTo>
                        <a:pt x="320" y="774"/>
                      </a:lnTo>
                      <a:lnTo>
                        <a:pt x="320" y="774"/>
                      </a:lnTo>
                      <a:lnTo>
                        <a:pt x="348" y="772"/>
                      </a:lnTo>
                      <a:lnTo>
                        <a:pt x="374" y="768"/>
                      </a:lnTo>
                      <a:lnTo>
                        <a:pt x="400" y="762"/>
                      </a:lnTo>
                      <a:lnTo>
                        <a:pt x="426" y="752"/>
                      </a:lnTo>
                      <a:lnTo>
                        <a:pt x="450" y="742"/>
                      </a:lnTo>
                      <a:lnTo>
                        <a:pt x="474" y="728"/>
                      </a:lnTo>
                      <a:lnTo>
                        <a:pt x="498" y="712"/>
                      </a:lnTo>
                      <a:lnTo>
                        <a:pt x="520" y="694"/>
                      </a:lnTo>
                      <a:lnTo>
                        <a:pt x="542" y="672"/>
                      </a:lnTo>
                      <a:lnTo>
                        <a:pt x="560" y="650"/>
                      </a:lnTo>
                      <a:lnTo>
                        <a:pt x="578" y="626"/>
                      </a:lnTo>
                      <a:lnTo>
                        <a:pt x="594" y="600"/>
                      </a:lnTo>
                      <a:lnTo>
                        <a:pt x="608" y="574"/>
                      </a:lnTo>
                      <a:lnTo>
                        <a:pt x="620" y="544"/>
                      </a:lnTo>
                      <a:lnTo>
                        <a:pt x="630" y="514"/>
                      </a:lnTo>
                      <a:lnTo>
                        <a:pt x="638" y="482"/>
                      </a:lnTo>
                      <a:lnTo>
                        <a:pt x="638" y="62"/>
                      </a:lnTo>
                      <a:lnTo>
                        <a:pt x="638" y="62"/>
                      </a:lnTo>
                      <a:lnTo>
                        <a:pt x="604" y="52"/>
                      </a:lnTo>
                      <a:lnTo>
                        <a:pt x="520" y="32"/>
                      </a:lnTo>
                      <a:lnTo>
                        <a:pt x="470" y="20"/>
                      </a:lnTo>
                      <a:lnTo>
                        <a:pt x="418" y="10"/>
                      </a:lnTo>
                      <a:lnTo>
                        <a:pt x="368" y="2"/>
                      </a:lnTo>
                      <a:lnTo>
                        <a:pt x="344" y="0"/>
                      </a:lnTo>
                      <a:lnTo>
                        <a:pt x="324" y="0"/>
                      </a:lnTo>
                      <a:lnTo>
                        <a:pt x="324" y="0"/>
                      </a:lnTo>
                      <a:lnTo>
                        <a:pt x="288" y="0"/>
                      </a:lnTo>
                      <a:lnTo>
                        <a:pt x="254" y="2"/>
                      </a:lnTo>
                      <a:lnTo>
                        <a:pt x="190" y="10"/>
                      </a:lnTo>
                      <a:lnTo>
                        <a:pt x="136" y="20"/>
                      </a:lnTo>
                      <a:lnTo>
                        <a:pt x="88" y="32"/>
                      </a:lnTo>
                      <a:lnTo>
                        <a:pt x="50" y="42"/>
                      </a:lnTo>
                      <a:lnTo>
                        <a:pt x="22" y="52"/>
                      </a:lnTo>
                      <a:lnTo>
                        <a:pt x="0" y="62"/>
                      </a:lnTo>
                      <a:lnTo>
                        <a:pt x="4" y="480"/>
                      </a:lnTo>
                      <a:close/>
                    </a:path>
                  </a:pathLst>
                </a:cu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443"/>
                <p:cNvSpPr>
                  <a:spLocks/>
                </p:cNvSpPr>
                <p:nvPr/>
              </p:nvSpPr>
              <p:spPr bwMode="auto">
                <a:xfrm>
                  <a:off x="711200" y="7316961"/>
                  <a:ext cx="1012825" cy="1228725"/>
                </a:xfrm>
                <a:custGeom>
                  <a:avLst/>
                  <a:gdLst>
                    <a:gd name="T0" fmla="*/ 4 w 638"/>
                    <a:gd name="T1" fmla="*/ 480 h 774"/>
                    <a:gd name="T2" fmla="*/ 4 w 638"/>
                    <a:gd name="T3" fmla="*/ 480 h 774"/>
                    <a:gd name="T4" fmla="*/ 10 w 638"/>
                    <a:gd name="T5" fmla="*/ 510 h 774"/>
                    <a:gd name="T6" fmla="*/ 18 w 638"/>
                    <a:gd name="T7" fmla="*/ 538 h 774"/>
                    <a:gd name="T8" fmla="*/ 30 w 638"/>
                    <a:gd name="T9" fmla="*/ 566 h 774"/>
                    <a:gd name="T10" fmla="*/ 44 w 638"/>
                    <a:gd name="T11" fmla="*/ 594 h 774"/>
                    <a:gd name="T12" fmla="*/ 60 w 638"/>
                    <a:gd name="T13" fmla="*/ 620 h 774"/>
                    <a:gd name="T14" fmla="*/ 78 w 638"/>
                    <a:gd name="T15" fmla="*/ 644 h 774"/>
                    <a:gd name="T16" fmla="*/ 96 w 638"/>
                    <a:gd name="T17" fmla="*/ 666 h 774"/>
                    <a:gd name="T18" fmla="*/ 118 w 638"/>
                    <a:gd name="T19" fmla="*/ 686 h 774"/>
                    <a:gd name="T20" fmla="*/ 140 w 638"/>
                    <a:gd name="T21" fmla="*/ 706 h 774"/>
                    <a:gd name="T22" fmla="*/ 164 w 638"/>
                    <a:gd name="T23" fmla="*/ 724 h 774"/>
                    <a:gd name="T24" fmla="*/ 188 w 638"/>
                    <a:gd name="T25" fmla="*/ 738 h 774"/>
                    <a:gd name="T26" fmla="*/ 214 w 638"/>
                    <a:gd name="T27" fmla="*/ 750 h 774"/>
                    <a:gd name="T28" fmla="*/ 240 w 638"/>
                    <a:gd name="T29" fmla="*/ 760 h 774"/>
                    <a:gd name="T30" fmla="*/ 266 w 638"/>
                    <a:gd name="T31" fmla="*/ 768 h 774"/>
                    <a:gd name="T32" fmla="*/ 294 w 638"/>
                    <a:gd name="T33" fmla="*/ 772 h 774"/>
                    <a:gd name="T34" fmla="*/ 320 w 638"/>
                    <a:gd name="T35" fmla="*/ 774 h 774"/>
                    <a:gd name="T36" fmla="*/ 320 w 638"/>
                    <a:gd name="T37" fmla="*/ 774 h 774"/>
                    <a:gd name="T38" fmla="*/ 348 w 638"/>
                    <a:gd name="T39" fmla="*/ 772 h 774"/>
                    <a:gd name="T40" fmla="*/ 374 w 638"/>
                    <a:gd name="T41" fmla="*/ 768 h 774"/>
                    <a:gd name="T42" fmla="*/ 400 w 638"/>
                    <a:gd name="T43" fmla="*/ 762 h 774"/>
                    <a:gd name="T44" fmla="*/ 426 w 638"/>
                    <a:gd name="T45" fmla="*/ 752 h 774"/>
                    <a:gd name="T46" fmla="*/ 450 w 638"/>
                    <a:gd name="T47" fmla="*/ 742 h 774"/>
                    <a:gd name="T48" fmla="*/ 474 w 638"/>
                    <a:gd name="T49" fmla="*/ 728 h 774"/>
                    <a:gd name="T50" fmla="*/ 498 w 638"/>
                    <a:gd name="T51" fmla="*/ 712 h 774"/>
                    <a:gd name="T52" fmla="*/ 520 w 638"/>
                    <a:gd name="T53" fmla="*/ 694 h 774"/>
                    <a:gd name="T54" fmla="*/ 542 w 638"/>
                    <a:gd name="T55" fmla="*/ 672 h 774"/>
                    <a:gd name="T56" fmla="*/ 560 w 638"/>
                    <a:gd name="T57" fmla="*/ 650 h 774"/>
                    <a:gd name="T58" fmla="*/ 578 w 638"/>
                    <a:gd name="T59" fmla="*/ 626 h 774"/>
                    <a:gd name="T60" fmla="*/ 594 w 638"/>
                    <a:gd name="T61" fmla="*/ 600 h 774"/>
                    <a:gd name="T62" fmla="*/ 608 w 638"/>
                    <a:gd name="T63" fmla="*/ 574 h 774"/>
                    <a:gd name="T64" fmla="*/ 620 w 638"/>
                    <a:gd name="T65" fmla="*/ 544 h 774"/>
                    <a:gd name="T66" fmla="*/ 630 w 638"/>
                    <a:gd name="T67" fmla="*/ 514 h 774"/>
                    <a:gd name="T68" fmla="*/ 638 w 638"/>
                    <a:gd name="T69" fmla="*/ 482 h 774"/>
                    <a:gd name="T70" fmla="*/ 638 w 638"/>
                    <a:gd name="T71" fmla="*/ 62 h 774"/>
                    <a:gd name="T72" fmla="*/ 638 w 638"/>
                    <a:gd name="T73" fmla="*/ 62 h 774"/>
                    <a:gd name="T74" fmla="*/ 604 w 638"/>
                    <a:gd name="T75" fmla="*/ 52 h 774"/>
                    <a:gd name="T76" fmla="*/ 520 w 638"/>
                    <a:gd name="T77" fmla="*/ 32 h 774"/>
                    <a:gd name="T78" fmla="*/ 470 w 638"/>
                    <a:gd name="T79" fmla="*/ 20 h 774"/>
                    <a:gd name="T80" fmla="*/ 418 w 638"/>
                    <a:gd name="T81" fmla="*/ 10 h 774"/>
                    <a:gd name="T82" fmla="*/ 368 w 638"/>
                    <a:gd name="T83" fmla="*/ 2 h 774"/>
                    <a:gd name="T84" fmla="*/ 344 w 638"/>
                    <a:gd name="T85" fmla="*/ 0 h 774"/>
                    <a:gd name="T86" fmla="*/ 324 w 638"/>
                    <a:gd name="T87" fmla="*/ 0 h 774"/>
                    <a:gd name="T88" fmla="*/ 324 w 638"/>
                    <a:gd name="T89" fmla="*/ 0 h 774"/>
                    <a:gd name="T90" fmla="*/ 288 w 638"/>
                    <a:gd name="T91" fmla="*/ 0 h 774"/>
                    <a:gd name="T92" fmla="*/ 254 w 638"/>
                    <a:gd name="T93" fmla="*/ 2 h 774"/>
                    <a:gd name="T94" fmla="*/ 190 w 638"/>
                    <a:gd name="T95" fmla="*/ 10 h 774"/>
                    <a:gd name="T96" fmla="*/ 136 w 638"/>
                    <a:gd name="T97" fmla="*/ 20 h 774"/>
                    <a:gd name="T98" fmla="*/ 88 w 638"/>
                    <a:gd name="T99" fmla="*/ 32 h 774"/>
                    <a:gd name="T100" fmla="*/ 50 w 638"/>
                    <a:gd name="T101" fmla="*/ 42 h 774"/>
                    <a:gd name="T102" fmla="*/ 22 w 638"/>
                    <a:gd name="T103" fmla="*/ 52 h 774"/>
                    <a:gd name="T104" fmla="*/ 0 w 638"/>
                    <a:gd name="T105" fmla="*/ 62 h 774"/>
                    <a:gd name="T106" fmla="*/ 4 w 638"/>
                    <a:gd name="T107" fmla="*/ 480 h 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8" h="774">
                      <a:moveTo>
                        <a:pt x="4" y="480"/>
                      </a:moveTo>
                      <a:lnTo>
                        <a:pt x="4" y="480"/>
                      </a:lnTo>
                      <a:lnTo>
                        <a:pt x="10" y="510"/>
                      </a:lnTo>
                      <a:lnTo>
                        <a:pt x="18" y="538"/>
                      </a:lnTo>
                      <a:lnTo>
                        <a:pt x="30" y="566"/>
                      </a:lnTo>
                      <a:lnTo>
                        <a:pt x="44" y="594"/>
                      </a:lnTo>
                      <a:lnTo>
                        <a:pt x="60" y="620"/>
                      </a:lnTo>
                      <a:lnTo>
                        <a:pt x="78" y="644"/>
                      </a:lnTo>
                      <a:lnTo>
                        <a:pt x="96" y="666"/>
                      </a:lnTo>
                      <a:lnTo>
                        <a:pt x="118" y="686"/>
                      </a:lnTo>
                      <a:lnTo>
                        <a:pt x="140" y="706"/>
                      </a:lnTo>
                      <a:lnTo>
                        <a:pt x="164" y="724"/>
                      </a:lnTo>
                      <a:lnTo>
                        <a:pt x="188" y="738"/>
                      </a:lnTo>
                      <a:lnTo>
                        <a:pt x="214" y="750"/>
                      </a:lnTo>
                      <a:lnTo>
                        <a:pt x="240" y="760"/>
                      </a:lnTo>
                      <a:lnTo>
                        <a:pt x="266" y="768"/>
                      </a:lnTo>
                      <a:lnTo>
                        <a:pt x="294" y="772"/>
                      </a:lnTo>
                      <a:lnTo>
                        <a:pt x="320" y="774"/>
                      </a:lnTo>
                      <a:lnTo>
                        <a:pt x="320" y="774"/>
                      </a:lnTo>
                      <a:lnTo>
                        <a:pt x="348" y="772"/>
                      </a:lnTo>
                      <a:lnTo>
                        <a:pt x="374" y="768"/>
                      </a:lnTo>
                      <a:lnTo>
                        <a:pt x="400" y="762"/>
                      </a:lnTo>
                      <a:lnTo>
                        <a:pt x="426" y="752"/>
                      </a:lnTo>
                      <a:lnTo>
                        <a:pt x="450" y="742"/>
                      </a:lnTo>
                      <a:lnTo>
                        <a:pt x="474" y="728"/>
                      </a:lnTo>
                      <a:lnTo>
                        <a:pt x="498" y="712"/>
                      </a:lnTo>
                      <a:lnTo>
                        <a:pt x="520" y="694"/>
                      </a:lnTo>
                      <a:lnTo>
                        <a:pt x="542" y="672"/>
                      </a:lnTo>
                      <a:lnTo>
                        <a:pt x="560" y="650"/>
                      </a:lnTo>
                      <a:lnTo>
                        <a:pt x="578" y="626"/>
                      </a:lnTo>
                      <a:lnTo>
                        <a:pt x="594" y="600"/>
                      </a:lnTo>
                      <a:lnTo>
                        <a:pt x="608" y="574"/>
                      </a:lnTo>
                      <a:lnTo>
                        <a:pt x="620" y="544"/>
                      </a:lnTo>
                      <a:lnTo>
                        <a:pt x="630" y="514"/>
                      </a:lnTo>
                      <a:lnTo>
                        <a:pt x="638" y="482"/>
                      </a:lnTo>
                      <a:lnTo>
                        <a:pt x="638" y="62"/>
                      </a:lnTo>
                      <a:lnTo>
                        <a:pt x="638" y="62"/>
                      </a:lnTo>
                      <a:lnTo>
                        <a:pt x="604" y="52"/>
                      </a:lnTo>
                      <a:lnTo>
                        <a:pt x="520" y="32"/>
                      </a:lnTo>
                      <a:lnTo>
                        <a:pt x="470" y="20"/>
                      </a:lnTo>
                      <a:lnTo>
                        <a:pt x="418" y="10"/>
                      </a:lnTo>
                      <a:lnTo>
                        <a:pt x="368" y="2"/>
                      </a:lnTo>
                      <a:lnTo>
                        <a:pt x="344" y="0"/>
                      </a:lnTo>
                      <a:lnTo>
                        <a:pt x="324" y="0"/>
                      </a:lnTo>
                      <a:lnTo>
                        <a:pt x="324" y="0"/>
                      </a:lnTo>
                      <a:lnTo>
                        <a:pt x="288" y="0"/>
                      </a:lnTo>
                      <a:lnTo>
                        <a:pt x="254" y="2"/>
                      </a:lnTo>
                      <a:lnTo>
                        <a:pt x="190" y="10"/>
                      </a:lnTo>
                      <a:lnTo>
                        <a:pt x="136" y="20"/>
                      </a:lnTo>
                      <a:lnTo>
                        <a:pt x="88" y="32"/>
                      </a:lnTo>
                      <a:lnTo>
                        <a:pt x="50" y="42"/>
                      </a:lnTo>
                      <a:lnTo>
                        <a:pt x="22" y="52"/>
                      </a:lnTo>
                      <a:lnTo>
                        <a:pt x="0" y="62"/>
                      </a:lnTo>
                      <a:lnTo>
                        <a:pt x="4" y="48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444"/>
                <p:cNvSpPr>
                  <a:spLocks/>
                </p:cNvSpPr>
                <p:nvPr/>
              </p:nvSpPr>
              <p:spPr bwMode="auto">
                <a:xfrm>
                  <a:off x="717550" y="8069436"/>
                  <a:ext cx="0" cy="9525"/>
                </a:xfrm>
                <a:custGeom>
                  <a:avLst/>
                  <a:gdLst>
                    <a:gd name="T0" fmla="*/ 0 h 6"/>
                    <a:gd name="T1" fmla="*/ 6 h 6"/>
                    <a:gd name="T2" fmla="*/ 0 h 6"/>
                    <a:gd name="T3" fmla="*/ 0 h 6"/>
                    <a:gd name="T4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C5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445"/>
                <p:cNvSpPr>
                  <a:spLocks/>
                </p:cNvSpPr>
                <p:nvPr/>
              </p:nvSpPr>
              <p:spPr bwMode="auto">
                <a:xfrm>
                  <a:off x="717550" y="8069436"/>
                  <a:ext cx="0" cy="9525"/>
                </a:xfrm>
                <a:custGeom>
                  <a:avLst/>
                  <a:gdLst>
                    <a:gd name="T0" fmla="*/ 0 h 6"/>
                    <a:gd name="T1" fmla="*/ 6 h 6"/>
                    <a:gd name="T2" fmla="*/ 0 h 6"/>
                    <a:gd name="T3" fmla="*/ 0 h 6"/>
                    <a:gd name="T4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446"/>
                <p:cNvSpPr>
                  <a:spLocks noEditPoints="1"/>
                </p:cNvSpPr>
                <p:nvPr/>
              </p:nvSpPr>
              <p:spPr bwMode="auto">
                <a:xfrm>
                  <a:off x="1219200" y="8542511"/>
                  <a:ext cx="34925" cy="3175"/>
                </a:xfrm>
                <a:custGeom>
                  <a:avLst/>
                  <a:gdLst>
                    <a:gd name="T0" fmla="*/ 2 w 22"/>
                    <a:gd name="T1" fmla="*/ 2 h 2"/>
                    <a:gd name="T2" fmla="*/ 0 w 22"/>
                    <a:gd name="T3" fmla="*/ 2 h 2"/>
                    <a:gd name="T4" fmla="*/ 2 w 22"/>
                    <a:gd name="T5" fmla="*/ 2 h 2"/>
                    <a:gd name="T6" fmla="*/ 2 w 22"/>
                    <a:gd name="T7" fmla="*/ 2 h 2"/>
                    <a:gd name="T8" fmla="*/ 2 w 22"/>
                    <a:gd name="T9" fmla="*/ 2 h 2"/>
                    <a:gd name="T10" fmla="*/ 2 w 22"/>
                    <a:gd name="T11" fmla="*/ 2 h 2"/>
                    <a:gd name="T12" fmla="*/ 2 w 22"/>
                    <a:gd name="T13" fmla="*/ 2 h 2"/>
                    <a:gd name="T14" fmla="*/ 4 w 22"/>
                    <a:gd name="T15" fmla="*/ 2 h 2"/>
                    <a:gd name="T16" fmla="*/ 4 w 22"/>
                    <a:gd name="T17" fmla="*/ 2 h 2"/>
                    <a:gd name="T18" fmla="*/ 4 w 22"/>
                    <a:gd name="T19" fmla="*/ 2 h 2"/>
                    <a:gd name="T20" fmla="*/ 4 w 22"/>
                    <a:gd name="T21" fmla="*/ 2 h 2"/>
                    <a:gd name="T22" fmla="*/ 4 w 22"/>
                    <a:gd name="T23" fmla="*/ 2 h 2"/>
                    <a:gd name="T24" fmla="*/ 6 w 22"/>
                    <a:gd name="T25" fmla="*/ 2 h 2"/>
                    <a:gd name="T26" fmla="*/ 4 w 22"/>
                    <a:gd name="T27" fmla="*/ 2 h 2"/>
                    <a:gd name="T28" fmla="*/ 6 w 22"/>
                    <a:gd name="T29" fmla="*/ 2 h 2"/>
                    <a:gd name="T30" fmla="*/ 6 w 22"/>
                    <a:gd name="T31" fmla="*/ 2 h 2"/>
                    <a:gd name="T32" fmla="*/ 6 w 22"/>
                    <a:gd name="T33" fmla="*/ 2 h 2"/>
                    <a:gd name="T34" fmla="*/ 8 w 22"/>
                    <a:gd name="T35" fmla="*/ 2 h 2"/>
                    <a:gd name="T36" fmla="*/ 6 w 22"/>
                    <a:gd name="T37" fmla="*/ 2 h 2"/>
                    <a:gd name="T38" fmla="*/ 8 w 22"/>
                    <a:gd name="T39" fmla="*/ 2 h 2"/>
                    <a:gd name="T40" fmla="*/ 8 w 22"/>
                    <a:gd name="T41" fmla="*/ 2 h 2"/>
                    <a:gd name="T42" fmla="*/ 8 w 22"/>
                    <a:gd name="T43" fmla="*/ 2 h 2"/>
                    <a:gd name="T44" fmla="*/ 8 w 22"/>
                    <a:gd name="T45" fmla="*/ 2 h 2"/>
                    <a:gd name="T46" fmla="*/ 8 w 22"/>
                    <a:gd name="T47" fmla="*/ 2 h 2"/>
                    <a:gd name="T48" fmla="*/ 8 w 22"/>
                    <a:gd name="T49" fmla="*/ 2 h 2"/>
                    <a:gd name="T50" fmla="*/ 10 w 22"/>
                    <a:gd name="T51" fmla="*/ 2 h 2"/>
                    <a:gd name="T52" fmla="*/ 10 w 22"/>
                    <a:gd name="T53" fmla="*/ 2 h 2"/>
                    <a:gd name="T54" fmla="*/ 10 w 22"/>
                    <a:gd name="T55" fmla="*/ 2 h 2"/>
                    <a:gd name="T56" fmla="*/ 10 w 22"/>
                    <a:gd name="T57" fmla="*/ 2 h 2"/>
                    <a:gd name="T58" fmla="*/ 10 w 22"/>
                    <a:gd name="T59" fmla="*/ 2 h 2"/>
                    <a:gd name="T60" fmla="*/ 12 w 22"/>
                    <a:gd name="T61" fmla="*/ 2 h 2"/>
                    <a:gd name="T62" fmla="*/ 12 w 22"/>
                    <a:gd name="T63" fmla="*/ 2 h 2"/>
                    <a:gd name="T64" fmla="*/ 12 w 22"/>
                    <a:gd name="T65" fmla="*/ 2 h 2"/>
                    <a:gd name="T66" fmla="*/ 12 w 22"/>
                    <a:gd name="T67" fmla="*/ 2 h 2"/>
                    <a:gd name="T68" fmla="*/ 12 w 22"/>
                    <a:gd name="T69" fmla="*/ 2 h 2"/>
                    <a:gd name="T70" fmla="*/ 12 w 22"/>
                    <a:gd name="T71" fmla="*/ 2 h 2"/>
                    <a:gd name="T72" fmla="*/ 12 w 22"/>
                    <a:gd name="T73" fmla="*/ 2 h 2"/>
                    <a:gd name="T74" fmla="*/ 14 w 22"/>
                    <a:gd name="T75" fmla="*/ 2 h 2"/>
                    <a:gd name="T76" fmla="*/ 14 w 22"/>
                    <a:gd name="T77" fmla="*/ 2 h 2"/>
                    <a:gd name="T78" fmla="*/ 14 w 22"/>
                    <a:gd name="T79" fmla="*/ 2 h 2"/>
                    <a:gd name="T80" fmla="*/ 14 w 22"/>
                    <a:gd name="T81" fmla="*/ 2 h 2"/>
                    <a:gd name="T82" fmla="*/ 14 w 22"/>
                    <a:gd name="T83" fmla="*/ 2 h 2"/>
                    <a:gd name="T84" fmla="*/ 16 w 22"/>
                    <a:gd name="T85" fmla="*/ 2 h 2"/>
                    <a:gd name="T86" fmla="*/ 16 w 22"/>
                    <a:gd name="T87" fmla="*/ 2 h 2"/>
                    <a:gd name="T88" fmla="*/ 16 w 22"/>
                    <a:gd name="T89" fmla="*/ 2 h 2"/>
                    <a:gd name="T90" fmla="*/ 16 w 22"/>
                    <a:gd name="T91" fmla="*/ 2 h 2"/>
                    <a:gd name="T92" fmla="*/ 16 w 22"/>
                    <a:gd name="T93" fmla="*/ 2 h 2"/>
                    <a:gd name="T94" fmla="*/ 18 w 22"/>
                    <a:gd name="T95" fmla="*/ 2 h 2"/>
                    <a:gd name="T96" fmla="*/ 16 w 22"/>
                    <a:gd name="T97" fmla="*/ 2 h 2"/>
                    <a:gd name="T98" fmla="*/ 18 w 22"/>
                    <a:gd name="T99" fmla="*/ 2 h 2"/>
                    <a:gd name="T100" fmla="*/ 18 w 22"/>
                    <a:gd name="T101" fmla="*/ 2 h 2"/>
                    <a:gd name="T102" fmla="*/ 18 w 22"/>
                    <a:gd name="T103" fmla="*/ 2 h 2"/>
                    <a:gd name="T104" fmla="*/ 18 w 22"/>
                    <a:gd name="T105" fmla="*/ 2 h 2"/>
                    <a:gd name="T106" fmla="*/ 18 w 22"/>
                    <a:gd name="T107" fmla="*/ 2 h 2"/>
                    <a:gd name="T108" fmla="*/ 18 w 22"/>
                    <a:gd name="T109" fmla="*/ 2 h 2"/>
                    <a:gd name="T110" fmla="*/ 20 w 22"/>
                    <a:gd name="T111" fmla="*/ 2 h 2"/>
                    <a:gd name="T112" fmla="*/ 20 w 22"/>
                    <a:gd name="T113" fmla="*/ 2 h 2"/>
                    <a:gd name="T114" fmla="*/ 20 w 22"/>
                    <a:gd name="T115" fmla="*/ 0 h 2"/>
                    <a:gd name="T116" fmla="*/ 20 w 22"/>
                    <a:gd name="T117" fmla="*/ 0 h 2"/>
                    <a:gd name="T118" fmla="*/ 20 w 22"/>
                    <a:gd name="T119" fmla="*/ 0 h 2"/>
                    <a:gd name="T120" fmla="*/ 22 w 22"/>
                    <a:gd name="T121" fmla="*/ 0 h 2"/>
                    <a:gd name="T122" fmla="*/ 22 w 22"/>
                    <a:gd name="T123" fmla="*/ 0 h 2"/>
                    <a:gd name="T124" fmla="*/ 22 w 22"/>
                    <a:gd name="T12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2" h="2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2"/>
                      </a:lnTo>
                      <a:close/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close/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close/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8" y="2"/>
                      </a:lnTo>
                      <a:close/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close/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close/>
                      <a:moveTo>
                        <a:pt x="10" y="2"/>
                      </a:move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close/>
                      <a:moveTo>
                        <a:pt x="10" y="2"/>
                      </a:move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close/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close/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close/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close/>
                      <a:moveTo>
                        <a:pt x="14" y="2"/>
                      </a:move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close/>
                      <a:moveTo>
                        <a:pt x="14" y="2"/>
                      </a:move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close/>
                      <a:moveTo>
                        <a:pt x="16" y="2"/>
                      </a:move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close/>
                      <a:moveTo>
                        <a:pt x="16" y="2"/>
                      </a:move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8" y="2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close/>
                      <a:moveTo>
                        <a:pt x="20" y="2"/>
                      </a:move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close/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C289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Rectangle 2447"/>
                <p:cNvSpPr>
                  <a:spLocks noChangeArrowheads="1"/>
                </p:cNvSpPr>
                <p:nvPr/>
              </p:nvSpPr>
              <p:spPr bwMode="auto">
                <a:xfrm>
                  <a:off x="1219200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7" name="Rectangle 2448"/>
                <p:cNvSpPr>
                  <a:spLocks noChangeArrowheads="1"/>
                </p:cNvSpPr>
                <p:nvPr/>
              </p:nvSpPr>
              <p:spPr bwMode="auto">
                <a:xfrm>
                  <a:off x="12223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8" name="Rectangle 2449"/>
                <p:cNvSpPr>
                  <a:spLocks noChangeArrowheads="1"/>
                </p:cNvSpPr>
                <p:nvPr/>
              </p:nvSpPr>
              <p:spPr bwMode="auto">
                <a:xfrm>
                  <a:off x="12223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9" name="Rectangle 2450"/>
                <p:cNvSpPr>
                  <a:spLocks noChangeArrowheads="1"/>
                </p:cNvSpPr>
                <p:nvPr/>
              </p:nvSpPr>
              <p:spPr bwMode="auto">
                <a:xfrm>
                  <a:off x="12255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0" name="Rectangle 2451"/>
                <p:cNvSpPr>
                  <a:spLocks noChangeArrowheads="1"/>
                </p:cNvSpPr>
                <p:nvPr/>
              </p:nvSpPr>
              <p:spPr bwMode="auto">
                <a:xfrm>
                  <a:off x="12255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1" name="Rectangle 2452"/>
                <p:cNvSpPr>
                  <a:spLocks noChangeArrowheads="1"/>
                </p:cNvSpPr>
                <p:nvPr/>
              </p:nvSpPr>
              <p:spPr bwMode="auto">
                <a:xfrm>
                  <a:off x="1225550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2" name="Rectangle 2453"/>
                <p:cNvSpPr>
                  <a:spLocks noChangeArrowheads="1"/>
                </p:cNvSpPr>
                <p:nvPr/>
              </p:nvSpPr>
              <p:spPr bwMode="auto">
                <a:xfrm>
                  <a:off x="122872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3" name="Rectangle 2454"/>
                <p:cNvSpPr>
                  <a:spLocks noChangeArrowheads="1"/>
                </p:cNvSpPr>
                <p:nvPr/>
              </p:nvSpPr>
              <p:spPr bwMode="auto">
                <a:xfrm>
                  <a:off x="1228725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4" name="Rectangle 2455"/>
                <p:cNvSpPr>
                  <a:spLocks noChangeArrowheads="1"/>
                </p:cNvSpPr>
                <p:nvPr/>
              </p:nvSpPr>
              <p:spPr bwMode="auto">
                <a:xfrm>
                  <a:off x="12319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5" name="Rectangle 2456"/>
                <p:cNvSpPr>
                  <a:spLocks noChangeArrowheads="1"/>
                </p:cNvSpPr>
                <p:nvPr/>
              </p:nvSpPr>
              <p:spPr bwMode="auto">
                <a:xfrm>
                  <a:off x="12319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6" name="Rectangle 2457"/>
                <p:cNvSpPr>
                  <a:spLocks noChangeArrowheads="1"/>
                </p:cNvSpPr>
                <p:nvPr/>
              </p:nvSpPr>
              <p:spPr bwMode="auto">
                <a:xfrm>
                  <a:off x="12350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7" name="Rectangle 2458"/>
                <p:cNvSpPr>
                  <a:spLocks noChangeArrowheads="1"/>
                </p:cNvSpPr>
                <p:nvPr/>
              </p:nvSpPr>
              <p:spPr bwMode="auto">
                <a:xfrm>
                  <a:off x="12350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8" name="Rectangle 2459"/>
                <p:cNvSpPr>
                  <a:spLocks noChangeArrowheads="1"/>
                </p:cNvSpPr>
                <p:nvPr/>
              </p:nvSpPr>
              <p:spPr bwMode="auto">
                <a:xfrm>
                  <a:off x="12382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9" name="Rectangle 2460"/>
                <p:cNvSpPr>
                  <a:spLocks noChangeArrowheads="1"/>
                </p:cNvSpPr>
                <p:nvPr/>
              </p:nvSpPr>
              <p:spPr bwMode="auto">
                <a:xfrm>
                  <a:off x="12382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0" name="Rectangle 2461"/>
                <p:cNvSpPr>
                  <a:spLocks noChangeArrowheads="1"/>
                </p:cNvSpPr>
                <p:nvPr/>
              </p:nvSpPr>
              <p:spPr bwMode="auto">
                <a:xfrm>
                  <a:off x="12382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1" name="Rectangle 2462"/>
                <p:cNvSpPr>
                  <a:spLocks noChangeArrowheads="1"/>
                </p:cNvSpPr>
                <p:nvPr/>
              </p:nvSpPr>
              <p:spPr bwMode="auto">
                <a:xfrm>
                  <a:off x="124142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2" name="Rectangle 2463"/>
                <p:cNvSpPr>
                  <a:spLocks noChangeArrowheads="1"/>
                </p:cNvSpPr>
                <p:nvPr/>
              </p:nvSpPr>
              <p:spPr bwMode="auto">
                <a:xfrm>
                  <a:off x="124142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3" name="Rectangle 2464"/>
                <p:cNvSpPr>
                  <a:spLocks noChangeArrowheads="1"/>
                </p:cNvSpPr>
                <p:nvPr/>
              </p:nvSpPr>
              <p:spPr bwMode="auto">
                <a:xfrm>
                  <a:off x="12446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4" name="Rectangle 2465"/>
                <p:cNvSpPr>
                  <a:spLocks noChangeArrowheads="1"/>
                </p:cNvSpPr>
                <p:nvPr/>
              </p:nvSpPr>
              <p:spPr bwMode="auto">
                <a:xfrm>
                  <a:off x="12446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5" name="Rectangle 2466"/>
                <p:cNvSpPr>
                  <a:spLocks noChangeArrowheads="1"/>
                </p:cNvSpPr>
                <p:nvPr/>
              </p:nvSpPr>
              <p:spPr bwMode="auto">
                <a:xfrm>
                  <a:off x="1244600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6" name="Rectangle 2467"/>
                <p:cNvSpPr>
                  <a:spLocks noChangeArrowheads="1"/>
                </p:cNvSpPr>
                <p:nvPr/>
              </p:nvSpPr>
              <p:spPr bwMode="auto">
                <a:xfrm>
                  <a:off x="12477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7" name="Rectangle 2468"/>
                <p:cNvSpPr>
                  <a:spLocks noChangeArrowheads="1"/>
                </p:cNvSpPr>
                <p:nvPr/>
              </p:nvSpPr>
              <p:spPr bwMode="auto">
                <a:xfrm>
                  <a:off x="12477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8" name="Rectangle 2469"/>
                <p:cNvSpPr>
                  <a:spLocks noChangeArrowheads="1"/>
                </p:cNvSpPr>
                <p:nvPr/>
              </p:nvSpPr>
              <p:spPr bwMode="auto">
                <a:xfrm>
                  <a:off x="12509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9" name="Rectangle 2470"/>
                <p:cNvSpPr>
                  <a:spLocks noChangeArrowheads="1"/>
                </p:cNvSpPr>
                <p:nvPr/>
              </p:nvSpPr>
              <p:spPr bwMode="auto">
                <a:xfrm>
                  <a:off x="1250950" y="8542511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0" name="Freeform 2471"/>
                <p:cNvSpPr>
                  <a:spLocks/>
                </p:cNvSpPr>
                <p:nvPr/>
              </p:nvSpPr>
              <p:spPr bwMode="auto">
                <a:xfrm>
                  <a:off x="1254125" y="85425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1" name="Freeform 2472"/>
                <p:cNvSpPr>
                  <a:spLocks/>
                </p:cNvSpPr>
                <p:nvPr/>
              </p:nvSpPr>
              <p:spPr bwMode="auto">
                <a:xfrm>
                  <a:off x="1254125" y="85425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2" name="Freeform 2473"/>
                <p:cNvSpPr>
                  <a:spLocks/>
                </p:cNvSpPr>
                <p:nvPr/>
              </p:nvSpPr>
              <p:spPr bwMode="auto">
                <a:xfrm>
                  <a:off x="717550" y="8053561"/>
                  <a:ext cx="1006475" cy="492125"/>
                </a:xfrm>
                <a:custGeom>
                  <a:avLst/>
                  <a:gdLst>
                    <a:gd name="T0" fmla="*/ 624 w 634"/>
                    <a:gd name="T1" fmla="*/ 30 h 310"/>
                    <a:gd name="T2" fmla="*/ 586 w 634"/>
                    <a:gd name="T3" fmla="*/ 112 h 310"/>
                    <a:gd name="T4" fmla="*/ 530 w 634"/>
                    <a:gd name="T5" fmla="*/ 178 h 310"/>
                    <a:gd name="T6" fmla="*/ 464 w 634"/>
                    <a:gd name="T7" fmla="*/ 228 h 310"/>
                    <a:gd name="T8" fmla="*/ 390 w 634"/>
                    <a:gd name="T9" fmla="*/ 260 h 310"/>
                    <a:gd name="T10" fmla="*/ 314 w 634"/>
                    <a:gd name="T11" fmla="*/ 270 h 310"/>
                    <a:gd name="T12" fmla="*/ 264 w 634"/>
                    <a:gd name="T13" fmla="*/ 266 h 310"/>
                    <a:gd name="T14" fmla="*/ 190 w 634"/>
                    <a:gd name="T15" fmla="*/ 240 h 310"/>
                    <a:gd name="T16" fmla="*/ 120 w 634"/>
                    <a:gd name="T17" fmla="*/ 194 h 310"/>
                    <a:gd name="T18" fmla="*/ 62 w 634"/>
                    <a:gd name="T19" fmla="*/ 134 h 310"/>
                    <a:gd name="T20" fmla="*/ 20 w 634"/>
                    <a:gd name="T21" fmla="*/ 62 h 310"/>
                    <a:gd name="T22" fmla="*/ 0 w 634"/>
                    <a:gd name="T23" fmla="*/ 16 h 310"/>
                    <a:gd name="T24" fmla="*/ 14 w 634"/>
                    <a:gd name="T25" fmla="*/ 74 h 310"/>
                    <a:gd name="T26" fmla="*/ 56 w 634"/>
                    <a:gd name="T27" fmla="*/ 156 h 310"/>
                    <a:gd name="T28" fmla="*/ 114 w 634"/>
                    <a:gd name="T29" fmla="*/ 222 h 310"/>
                    <a:gd name="T30" fmla="*/ 184 w 634"/>
                    <a:gd name="T31" fmla="*/ 274 h 310"/>
                    <a:gd name="T32" fmla="*/ 262 w 634"/>
                    <a:gd name="T33" fmla="*/ 304 h 310"/>
                    <a:gd name="T34" fmla="*/ 316 w 634"/>
                    <a:gd name="T35" fmla="*/ 310 h 310"/>
                    <a:gd name="T36" fmla="*/ 318 w 634"/>
                    <a:gd name="T37" fmla="*/ 310 h 310"/>
                    <a:gd name="T38" fmla="*/ 318 w 634"/>
                    <a:gd name="T39" fmla="*/ 310 h 310"/>
                    <a:gd name="T40" fmla="*/ 318 w 634"/>
                    <a:gd name="T41" fmla="*/ 310 h 310"/>
                    <a:gd name="T42" fmla="*/ 320 w 634"/>
                    <a:gd name="T43" fmla="*/ 310 h 310"/>
                    <a:gd name="T44" fmla="*/ 320 w 634"/>
                    <a:gd name="T45" fmla="*/ 310 h 310"/>
                    <a:gd name="T46" fmla="*/ 320 w 634"/>
                    <a:gd name="T47" fmla="*/ 310 h 310"/>
                    <a:gd name="T48" fmla="*/ 320 w 634"/>
                    <a:gd name="T49" fmla="*/ 310 h 310"/>
                    <a:gd name="T50" fmla="*/ 322 w 634"/>
                    <a:gd name="T51" fmla="*/ 310 h 310"/>
                    <a:gd name="T52" fmla="*/ 322 w 634"/>
                    <a:gd name="T53" fmla="*/ 310 h 310"/>
                    <a:gd name="T54" fmla="*/ 324 w 634"/>
                    <a:gd name="T55" fmla="*/ 310 h 310"/>
                    <a:gd name="T56" fmla="*/ 324 w 634"/>
                    <a:gd name="T57" fmla="*/ 310 h 310"/>
                    <a:gd name="T58" fmla="*/ 324 w 634"/>
                    <a:gd name="T59" fmla="*/ 310 h 310"/>
                    <a:gd name="T60" fmla="*/ 324 w 634"/>
                    <a:gd name="T61" fmla="*/ 310 h 310"/>
                    <a:gd name="T62" fmla="*/ 326 w 634"/>
                    <a:gd name="T63" fmla="*/ 310 h 310"/>
                    <a:gd name="T64" fmla="*/ 326 w 634"/>
                    <a:gd name="T65" fmla="*/ 310 h 310"/>
                    <a:gd name="T66" fmla="*/ 328 w 634"/>
                    <a:gd name="T67" fmla="*/ 310 h 310"/>
                    <a:gd name="T68" fmla="*/ 328 w 634"/>
                    <a:gd name="T69" fmla="*/ 310 h 310"/>
                    <a:gd name="T70" fmla="*/ 328 w 634"/>
                    <a:gd name="T71" fmla="*/ 310 h 310"/>
                    <a:gd name="T72" fmla="*/ 328 w 634"/>
                    <a:gd name="T73" fmla="*/ 310 h 310"/>
                    <a:gd name="T74" fmla="*/ 330 w 634"/>
                    <a:gd name="T75" fmla="*/ 310 h 310"/>
                    <a:gd name="T76" fmla="*/ 330 w 634"/>
                    <a:gd name="T77" fmla="*/ 310 h 310"/>
                    <a:gd name="T78" fmla="*/ 330 w 634"/>
                    <a:gd name="T79" fmla="*/ 310 h 310"/>
                    <a:gd name="T80" fmla="*/ 332 w 634"/>
                    <a:gd name="T81" fmla="*/ 310 h 310"/>
                    <a:gd name="T82" fmla="*/ 332 w 634"/>
                    <a:gd name="T83" fmla="*/ 310 h 310"/>
                    <a:gd name="T84" fmla="*/ 332 w 634"/>
                    <a:gd name="T85" fmla="*/ 310 h 310"/>
                    <a:gd name="T86" fmla="*/ 334 w 634"/>
                    <a:gd name="T87" fmla="*/ 310 h 310"/>
                    <a:gd name="T88" fmla="*/ 334 w 634"/>
                    <a:gd name="T89" fmla="*/ 310 h 310"/>
                    <a:gd name="T90" fmla="*/ 334 w 634"/>
                    <a:gd name="T91" fmla="*/ 310 h 310"/>
                    <a:gd name="T92" fmla="*/ 334 w 634"/>
                    <a:gd name="T93" fmla="*/ 310 h 310"/>
                    <a:gd name="T94" fmla="*/ 336 w 634"/>
                    <a:gd name="T95" fmla="*/ 310 h 310"/>
                    <a:gd name="T96" fmla="*/ 336 w 634"/>
                    <a:gd name="T97" fmla="*/ 308 h 310"/>
                    <a:gd name="T98" fmla="*/ 338 w 634"/>
                    <a:gd name="T99" fmla="*/ 308 h 310"/>
                    <a:gd name="T100" fmla="*/ 338 w 634"/>
                    <a:gd name="T101" fmla="*/ 308 h 310"/>
                    <a:gd name="T102" fmla="*/ 338 w 634"/>
                    <a:gd name="T103" fmla="*/ 308 h 310"/>
                    <a:gd name="T104" fmla="*/ 412 w 634"/>
                    <a:gd name="T105" fmla="*/ 292 h 310"/>
                    <a:gd name="T106" fmla="*/ 482 w 634"/>
                    <a:gd name="T107" fmla="*/ 256 h 310"/>
                    <a:gd name="T108" fmla="*/ 544 w 634"/>
                    <a:gd name="T109" fmla="*/ 202 h 310"/>
                    <a:gd name="T110" fmla="*/ 592 w 634"/>
                    <a:gd name="T111" fmla="*/ 134 h 310"/>
                    <a:gd name="T112" fmla="*/ 626 w 634"/>
                    <a:gd name="T113" fmla="*/ 50 h 310"/>
                    <a:gd name="T114" fmla="*/ 634 w 634"/>
                    <a:gd name="T115" fmla="*/ 0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34" h="310">
                      <a:moveTo>
                        <a:pt x="634" y="0"/>
                      </a:moveTo>
                      <a:lnTo>
                        <a:pt x="634" y="0"/>
                      </a:lnTo>
                      <a:lnTo>
                        <a:pt x="624" y="30"/>
                      </a:lnTo>
                      <a:lnTo>
                        <a:pt x="614" y="58"/>
                      </a:lnTo>
                      <a:lnTo>
                        <a:pt x="600" y="86"/>
                      </a:lnTo>
                      <a:lnTo>
                        <a:pt x="586" y="112"/>
                      </a:lnTo>
                      <a:lnTo>
                        <a:pt x="570" y="134"/>
                      </a:lnTo>
                      <a:lnTo>
                        <a:pt x="550" y="158"/>
                      </a:lnTo>
                      <a:lnTo>
                        <a:pt x="530" y="178"/>
                      </a:lnTo>
                      <a:lnTo>
                        <a:pt x="510" y="196"/>
                      </a:lnTo>
                      <a:lnTo>
                        <a:pt x="488" y="212"/>
                      </a:lnTo>
                      <a:lnTo>
                        <a:pt x="464" y="228"/>
                      </a:lnTo>
                      <a:lnTo>
                        <a:pt x="440" y="240"/>
                      </a:lnTo>
                      <a:lnTo>
                        <a:pt x="416" y="250"/>
                      </a:lnTo>
                      <a:lnTo>
                        <a:pt x="390" y="260"/>
                      </a:lnTo>
                      <a:lnTo>
                        <a:pt x="364" y="266"/>
                      </a:lnTo>
                      <a:lnTo>
                        <a:pt x="338" y="270"/>
                      </a:lnTo>
                      <a:lnTo>
                        <a:pt x="314" y="270"/>
                      </a:lnTo>
                      <a:lnTo>
                        <a:pt x="314" y="270"/>
                      </a:lnTo>
                      <a:lnTo>
                        <a:pt x="288" y="270"/>
                      </a:lnTo>
                      <a:lnTo>
                        <a:pt x="264" y="266"/>
                      </a:lnTo>
                      <a:lnTo>
                        <a:pt x="238" y="258"/>
                      </a:lnTo>
                      <a:lnTo>
                        <a:pt x="214" y="250"/>
                      </a:lnTo>
                      <a:lnTo>
                        <a:pt x="190" y="240"/>
                      </a:lnTo>
                      <a:lnTo>
                        <a:pt x="166" y="226"/>
                      </a:lnTo>
                      <a:lnTo>
                        <a:pt x="142" y="212"/>
                      </a:lnTo>
                      <a:lnTo>
                        <a:pt x="120" y="194"/>
                      </a:lnTo>
                      <a:lnTo>
                        <a:pt x="100" y="176"/>
                      </a:lnTo>
                      <a:lnTo>
                        <a:pt x="80" y="156"/>
                      </a:lnTo>
                      <a:lnTo>
                        <a:pt x="62" y="134"/>
                      </a:lnTo>
                      <a:lnTo>
                        <a:pt x="46" y="112"/>
                      </a:lnTo>
                      <a:lnTo>
                        <a:pt x="32" y="88"/>
                      </a:lnTo>
                      <a:lnTo>
                        <a:pt x="20" y="62"/>
                      </a:lnTo>
                      <a:lnTo>
                        <a:pt x="8" y="36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6" y="46"/>
                      </a:lnTo>
                      <a:lnTo>
                        <a:pt x="14" y="74"/>
                      </a:lnTo>
                      <a:lnTo>
                        <a:pt x="26" y="102"/>
                      </a:lnTo>
                      <a:lnTo>
                        <a:pt x="40" y="130"/>
                      </a:lnTo>
                      <a:lnTo>
                        <a:pt x="56" y="156"/>
                      </a:lnTo>
                      <a:lnTo>
                        <a:pt x="74" y="180"/>
                      </a:lnTo>
                      <a:lnTo>
                        <a:pt x="92" y="202"/>
                      </a:lnTo>
                      <a:lnTo>
                        <a:pt x="114" y="222"/>
                      </a:lnTo>
                      <a:lnTo>
                        <a:pt x="136" y="242"/>
                      </a:lnTo>
                      <a:lnTo>
                        <a:pt x="160" y="260"/>
                      </a:lnTo>
                      <a:lnTo>
                        <a:pt x="184" y="274"/>
                      </a:lnTo>
                      <a:lnTo>
                        <a:pt x="210" y="286"/>
                      </a:lnTo>
                      <a:lnTo>
                        <a:pt x="236" y="296"/>
                      </a:lnTo>
                      <a:lnTo>
                        <a:pt x="262" y="304"/>
                      </a:lnTo>
                      <a:lnTo>
                        <a:pt x="290" y="308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64" y="306"/>
                      </a:lnTo>
                      <a:lnTo>
                        <a:pt x="388" y="300"/>
                      </a:lnTo>
                      <a:lnTo>
                        <a:pt x="412" y="292"/>
                      </a:lnTo>
                      <a:lnTo>
                        <a:pt x="436" y="282"/>
                      </a:lnTo>
                      <a:lnTo>
                        <a:pt x="460" y="270"/>
                      </a:lnTo>
                      <a:lnTo>
                        <a:pt x="482" y="256"/>
                      </a:lnTo>
                      <a:lnTo>
                        <a:pt x="504" y="240"/>
                      </a:lnTo>
                      <a:lnTo>
                        <a:pt x="524" y="222"/>
                      </a:lnTo>
                      <a:lnTo>
                        <a:pt x="544" y="202"/>
                      </a:lnTo>
                      <a:lnTo>
                        <a:pt x="562" y="180"/>
                      </a:lnTo>
                      <a:lnTo>
                        <a:pt x="578" y="158"/>
                      </a:lnTo>
                      <a:lnTo>
                        <a:pt x="592" y="134"/>
                      </a:lnTo>
                      <a:lnTo>
                        <a:pt x="606" y="108"/>
                      </a:lnTo>
                      <a:lnTo>
                        <a:pt x="616" y="80"/>
                      </a:lnTo>
                      <a:lnTo>
                        <a:pt x="626" y="50"/>
                      </a:lnTo>
                      <a:lnTo>
                        <a:pt x="632" y="20"/>
                      </a:lnTo>
                      <a:lnTo>
                        <a:pt x="634" y="16"/>
                      </a:lnTo>
                      <a:lnTo>
                        <a:pt x="634" y="0"/>
                      </a:lnTo>
                      <a:close/>
                    </a:path>
                  </a:pathLst>
                </a:custGeom>
                <a:solidFill>
                  <a:srgbClr val="C289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3" name="Freeform 2474"/>
                <p:cNvSpPr>
                  <a:spLocks/>
                </p:cNvSpPr>
                <p:nvPr/>
              </p:nvSpPr>
              <p:spPr bwMode="auto">
                <a:xfrm>
                  <a:off x="717550" y="8053561"/>
                  <a:ext cx="1006475" cy="492125"/>
                </a:xfrm>
                <a:custGeom>
                  <a:avLst/>
                  <a:gdLst>
                    <a:gd name="T0" fmla="*/ 624 w 634"/>
                    <a:gd name="T1" fmla="*/ 30 h 310"/>
                    <a:gd name="T2" fmla="*/ 586 w 634"/>
                    <a:gd name="T3" fmla="*/ 112 h 310"/>
                    <a:gd name="T4" fmla="*/ 530 w 634"/>
                    <a:gd name="T5" fmla="*/ 178 h 310"/>
                    <a:gd name="T6" fmla="*/ 464 w 634"/>
                    <a:gd name="T7" fmla="*/ 228 h 310"/>
                    <a:gd name="T8" fmla="*/ 390 w 634"/>
                    <a:gd name="T9" fmla="*/ 260 h 310"/>
                    <a:gd name="T10" fmla="*/ 314 w 634"/>
                    <a:gd name="T11" fmla="*/ 270 h 310"/>
                    <a:gd name="T12" fmla="*/ 264 w 634"/>
                    <a:gd name="T13" fmla="*/ 266 h 310"/>
                    <a:gd name="T14" fmla="*/ 190 w 634"/>
                    <a:gd name="T15" fmla="*/ 240 h 310"/>
                    <a:gd name="T16" fmla="*/ 120 w 634"/>
                    <a:gd name="T17" fmla="*/ 194 h 310"/>
                    <a:gd name="T18" fmla="*/ 62 w 634"/>
                    <a:gd name="T19" fmla="*/ 134 h 310"/>
                    <a:gd name="T20" fmla="*/ 20 w 634"/>
                    <a:gd name="T21" fmla="*/ 62 h 310"/>
                    <a:gd name="T22" fmla="*/ 0 w 634"/>
                    <a:gd name="T23" fmla="*/ 16 h 310"/>
                    <a:gd name="T24" fmla="*/ 14 w 634"/>
                    <a:gd name="T25" fmla="*/ 74 h 310"/>
                    <a:gd name="T26" fmla="*/ 56 w 634"/>
                    <a:gd name="T27" fmla="*/ 156 h 310"/>
                    <a:gd name="T28" fmla="*/ 114 w 634"/>
                    <a:gd name="T29" fmla="*/ 222 h 310"/>
                    <a:gd name="T30" fmla="*/ 184 w 634"/>
                    <a:gd name="T31" fmla="*/ 274 h 310"/>
                    <a:gd name="T32" fmla="*/ 262 w 634"/>
                    <a:gd name="T33" fmla="*/ 304 h 310"/>
                    <a:gd name="T34" fmla="*/ 316 w 634"/>
                    <a:gd name="T35" fmla="*/ 310 h 310"/>
                    <a:gd name="T36" fmla="*/ 318 w 634"/>
                    <a:gd name="T37" fmla="*/ 310 h 310"/>
                    <a:gd name="T38" fmla="*/ 318 w 634"/>
                    <a:gd name="T39" fmla="*/ 310 h 310"/>
                    <a:gd name="T40" fmla="*/ 318 w 634"/>
                    <a:gd name="T41" fmla="*/ 310 h 310"/>
                    <a:gd name="T42" fmla="*/ 320 w 634"/>
                    <a:gd name="T43" fmla="*/ 310 h 310"/>
                    <a:gd name="T44" fmla="*/ 320 w 634"/>
                    <a:gd name="T45" fmla="*/ 310 h 310"/>
                    <a:gd name="T46" fmla="*/ 320 w 634"/>
                    <a:gd name="T47" fmla="*/ 310 h 310"/>
                    <a:gd name="T48" fmla="*/ 320 w 634"/>
                    <a:gd name="T49" fmla="*/ 310 h 310"/>
                    <a:gd name="T50" fmla="*/ 322 w 634"/>
                    <a:gd name="T51" fmla="*/ 310 h 310"/>
                    <a:gd name="T52" fmla="*/ 322 w 634"/>
                    <a:gd name="T53" fmla="*/ 310 h 310"/>
                    <a:gd name="T54" fmla="*/ 324 w 634"/>
                    <a:gd name="T55" fmla="*/ 310 h 310"/>
                    <a:gd name="T56" fmla="*/ 324 w 634"/>
                    <a:gd name="T57" fmla="*/ 310 h 310"/>
                    <a:gd name="T58" fmla="*/ 324 w 634"/>
                    <a:gd name="T59" fmla="*/ 310 h 310"/>
                    <a:gd name="T60" fmla="*/ 324 w 634"/>
                    <a:gd name="T61" fmla="*/ 310 h 310"/>
                    <a:gd name="T62" fmla="*/ 326 w 634"/>
                    <a:gd name="T63" fmla="*/ 310 h 310"/>
                    <a:gd name="T64" fmla="*/ 326 w 634"/>
                    <a:gd name="T65" fmla="*/ 310 h 310"/>
                    <a:gd name="T66" fmla="*/ 328 w 634"/>
                    <a:gd name="T67" fmla="*/ 310 h 310"/>
                    <a:gd name="T68" fmla="*/ 328 w 634"/>
                    <a:gd name="T69" fmla="*/ 310 h 310"/>
                    <a:gd name="T70" fmla="*/ 328 w 634"/>
                    <a:gd name="T71" fmla="*/ 310 h 310"/>
                    <a:gd name="T72" fmla="*/ 328 w 634"/>
                    <a:gd name="T73" fmla="*/ 310 h 310"/>
                    <a:gd name="T74" fmla="*/ 330 w 634"/>
                    <a:gd name="T75" fmla="*/ 310 h 310"/>
                    <a:gd name="T76" fmla="*/ 330 w 634"/>
                    <a:gd name="T77" fmla="*/ 310 h 310"/>
                    <a:gd name="T78" fmla="*/ 330 w 634"/>
                    <a:gd name="T79" fmla="*/ 310 h 310"/>
                    <a:gd name="T80" fmla="*/ 332 w 634"/>
                    <a:gd name="T81" fmla="*/ 310 h 310"/>
                    <a:gd name="T82" fmla="*/ 332 w 634"/>
                    <a:gd name="T83" fmla="*/ 310 h 310"/>
                    <a:gd name="T84" fmla="*/ 332 w 634"/>
                    <a:gd name="T85" fmla="*/ 310 h 310"/>
                    <a:gd name="T86" fmla="*/ 334 w 634"/>
                    <a:gd name="T87" fmla="*/ 310 h 310"/>
                    <a:gd name="T88" fmla="*/ 334 w 634"/>
                    <a:gd name="T89" fmla="*/ 310 h 310"/>
                    <a:gd name="T90" fmla="*/ 334 w 634"/>
                    <a:gd name="T91" fmla="*/ 310 h 310"/>
                    <a:gd name="T92" fmla="*/ 334 w 634"/>
                    <a:gd name="T93" fmla="*/ 310 h 310"/>
                    <a:gd name="T94" fmla="*/ 336 w 634"/>
                    <a:gd name="T95" fmla="*/ 310 h 310"/>
                    <a:gd name="T96" fmla="*/ 336 w 634"/>
                    <a:gd name="T97" fmla="*/ 308 h 310"/>
                    <a:gd name="T98" fmla="*/ 338 w 634"/>
                    <a:gd name="T99" fmla="*/ 308 h 310"/>
                    <a:gd name="T100" fmla="*/ 338 w 634"/>
                    <a:gd name="T101" fmla="*/ 308 h 310"/>
                    <a:gd name="T102" fmla="*/ 338 w 634"/>
                    <a:gd name="T103" fmla="*/ 308 h 310"/>
                    <a:gd name="T104" fmla="*/ 412 w 634"/>
                    <a:gd name="T105" fmla="*/ 292 h 310"/>
                    <a:gd name="T106" fmla="*/ 482 w 634"/>
                    <a:gd name="T107" fmla="*/ 256 h 310"/>
                    <a:gd name="T108" fmla="*/ 544 w 634"/>
                    <a:gd name="T109" fmla="*/ 202 h 310"/>
                    <a:gd name="T110" fmla="*/ 592 w 634"/>
                    <a:gd name="T111" fmla="*/ 134 h 310"/>
                    <a:gd name="T112" fmla="*/ 626 w 634"/>
                    <a:gd name="T113" fmla="*/ 50 h 310"/>
                    <a:gd name="T114" fmla="*/ 634 w 634"/>
                    <a:gd name="T115" fmla="*/ 0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34" h="310">
                      <a:moveTo>
                        <a:pt x="634" y="0"/>
                      </a:moveTo>
                      <a:lnTo>
                        <a:pt x="634" y="0"/>
                      </a:lnTo>
                      <a:lnTo>
                        <a:pt x="624" y="30"/>
                      </a:lnTo>
                      <a:lnTo>
                        <a:pt x="614" y="58"/>
                      </a:lnTo>
                      <a:lnTo>
                        <a:pt x="600" y="86"/>
                      </a:lnTo>
                      <a:lnTo>
                        <a:pt x="586" y="112"/>
                      </a:lnTo>
                      <a:lnTo>
                        <a:pt x="570" y="134"/>
                      </a:lnTo>
                      <a:lnTo>
                        <a:pt x="550" y="158"/>
                      </a:lnTo>
                      <a:lnTo>
                        <a:pt x="530" y="178"/>
                      </a:lnTo>
                      <a:lnTo>
                        <a:pt x="510" y="196"/>
                      </a:lnTo>
                      <a:lnTo>
                        <a:pt x="488" y="212"/>
                      </a:lnTo>
                      <a:lnTo>
                        <a:pt x="464" y="228"/>
                      </a:lnTo>
                      <a:lnTo>
                        <a:pt x="440" y="240"/>
                      </a:lnTo>
                      <a:lnTo>
                        <a:pt x="416" y="250"/>
                      </a:lnTo>
                      <a:lnTo>
                        <a:pt x="390" y="260"/>
                      </a:lnTo>
                      <a:lnTo>
                        <a:pt x="364" y="266"/>
                      </a:lnTo>
                      <a:lnTo>
                        <a:pt x="338" y="270"/>
                      </a:lnTo>
                      <a:lnTo>
                        <a:pt x="314" y="270"/>
                      </a:lnTo>
                      <a:lnTo>
                        <a:pt x="314" y="270"/>
                      </a:lnTo>
                      <a:lnTo>
                        <a:pt x="288" y="270"/>
                      </a:lnTo>
                      <a:lnTo>
                        <a:pt x="264" y="266"/>
                      </a:lnTo>
                      <a:lnTo>
                        <a:pt x="238" y="258"/>
                      </a:lnTo>
                      <a:lnTo>
                        <a:pt x="214" y="250"/>
                      </a:lnTo>
                      <a:lnTo>
                        <a:pt x="190" y="240"/>
                      </a:lnTo>
                      <a:lnTo>
                        <a:pt x="166" y="226"/>
                      </a:lnTo>
                      <a:lnTo>
                        <a:pt x="142" y="212"/>
                      </a:lnTo>
                      <a:lnTo>
                        <a:pt x="120" y="194"/>
                      </a:lnTo>
                      <a:lnTo>
                        <a:pt x="100" y="176"/>
                      </a:lnTo>
                      <a:lnTo>
                        <a:pt x="80" y="156"/>
                      </a:lnTo>
                      <a:lnTo>
                        <a:pt x="62" y="134"/>
                      </a:lnTo>
                      <a:lnTo>
                        <a:pt x="46" y="112"/>
                      </a:lnTo>
                      <a:lnTo>
                        <a:pt x="32" y="88"/>
                      </a:lnTo>
                      <a:lnTo>
                        <a:pt x="20" y="62"/>
                      </a:lnTo>
                      <a:lnTo>
                        <a:pt x="8" y="36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6" y="46"/>
                      </a:lnTo>
                      <a:lnTo>
                        <a:pt x="14" y="74"/>
                      </a:lnTo>
                      <a:lnTo>
                        <a:pt x="26" y="102"/>
                      </a:lnTo>
                      <a:lnTo>
                        <a:pt x="40" y="130"/>
                      </a:lnTo>
                      <a:lnTo>
                        <a:pt x="56" y="156"/>
                      </a:lnTo>
                      <a:lnTo>
                        <a:pt x="74" y="180"/>
                      </a:lnTo>
                      <a:lnTo>
                        <a:pt x="92" y="202"/>
                      </a:lnTo>
                      <a:lnTo>
                        <a:pt x="114" y="222"/>
                      </a:lnTo>
                      <a:lnTo>
                        <a:pt x="136" y="242"/>
                      </a:lnTo>
                      <a:lnTo>
                        <a:pt x="160" y="260"/>
                      </a:lnTo>
                      <a:lnTo>
                        <a:pt x="184" y="274"/>
                      </a:lnTo>
                      <a:lnTo>
                        <a:pt x="210" y="286"/>
                      </a:lnTo>
                      <a:lnTo>
                        <a:pt x="236" y="296"/>
                      </a:lnTo>
                      <a:lnTo>
                        <a:pt x="262" y="304"/>
                      </a:lnTo>
                      <a:lnTo>
                        <a:pt x="290" y="308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64" y="306"/>
                      </a:lnTo>
                      <a:lnTo>
                        <a:pt x="388" y="300"/>
                      </a:lnTo>
                      <a:lnTo>
                        <a:pt x="412" y="292"/>
                      </a:lnTo>
                      <a:lnTo>
                        <a:pt x="436" y="282"/>
                      </a:lnTo>
                      <a:lnTo>
                        <a:pt x="460" y="270"/>
                      </a:lnTo>
                      <a:lnTo>
                        <a:pt x="482" y="256"/>
                      </a:lnTo>
                      <a:lnTo>
                        <a:pt x="504" y="240"/>
                      </a:lnTo>
                      <a:lnTo>
                        <a:pt x="524" y="222"/>
                      </a:lnTo>
                      <a:lnTo>
                        <a:pt x="544" y="202"/>
                      </a:lnTo>
                      <a:lnTo>
                        <a:pt x="562" y="180"/>
                      </a:lnTo>
                      <a:lnTo>
                        <a:pt x="578" y="158"/>
                      </a:lnTo>
                      <a:lnTo>
                        <a:pt x="592" y="134"/>
                      </a:lnTo>
                      <a:lnTo>
                        <a:pt x="606" y="108"/>
                      </a:lnTo>
                      <a:lnTo>
                        <a:pt x="616" y="80"/>
                      </a:lnTo>
                      <a:lnTo>
                        <a:pt x="626" y="50"/>
                      </a:lnTo>
                      <a:lnTo>
                        <a:pt x="632" y="20"/>
                      </a:lnTo>
                      <a:lnTo>
                        <a:pt x="634" y="16"/>
                      </a:lnTo>
                      <a:lnTo>
                        <a:pt x="63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4" name="Freeform 2475"/>
                <p:cNvSpPr>
                  <a:spLocks/>
                </p:cNvSpPr>
                <p:nvPr/>
              </p:nvSpPr>
              <p:spPr bwMode="auto">
                <a:xfrm>
                  <a:off x="1457325" y="7875761"/>
                  <a:ext cx="76200" cy="76200"/>
                </a:xfrm>
                <a:custGeom>
                  <a:avLst/>
                  <a:gdLst>
                    <a:gd name="T0" fmla="*/ 0 w 48"/>
                    <a:gd name="T1" fmla="*/ 24 h 48"/>
                    <a:gd name="T2" fmla="*/ 0 w 48"/>
                    <a:gd name="T3" fmla="*/ 24 h 48"/>
                    <a:gd name="T4" fmla="*/ 2 w 48"/>
                    <a:gd name="T5" fmla="*/ 32 h 48"/>
                    <a:gd name="T6" fmla="*/ 6 w 48"/>
                    <a:gd name="T7" fmla="*/ 40 h 48"/>
                    <a:gd name="T8" fmla="*/ 14 w 48"/>
                    <a:gd name="T9" fmla="*/ 46 h 48"/>
                    <a:gd name="T10" fmla="*/ 24 w 48"/>
                    <a:gd name="T11" fmla="*/ 48 h 48"/>
                    <a:gd name="T12" fmla="*/ 24 w 48"/>
                    <a:gd name="T13" fmla="*/ 48 h 48"/>
                    <a:gd name="T14" fmla="*/ 32 w 48"/>
                    <a:gd name="T15" fmla="*/ 46 h 48"/>
                    <a:gd name="T16" fmla="*/ 40 w 48"/>
                    <a:gd name="T17" fmla="*/ 40 h 48"/>
                    <a:gd name="T18" fmla="*/ 46 w 48"/>
                    <a:gd name="T19" fmla="*/ 32 h 48"/>
                    <a:gd name="T20" fmla="*/ 48 w 48"/>
                    <a:gd name="T21" fmla="*/ 24 h 48"/>
                    <a:gd name="T22" fmla="*/ 48 w 48"/>
                    <a:gd name="T23" fmla="*/ 24 h 48"/>
                    <a:gd name="T24" fmla="*/ 46 w 48"/>
                    <a:gd name="T25" fmla="*/ 14 h 48"/>
                    <a:gd name="T26" fmla="*/ 40 w 48"/>
                    <a:gd name="T27" fmla="*/ 6 h 48"/>
                    <a:gd name="T28" fmla="*/ 32 w 48"/>
                    <a:gd name="T29" fmla="*/ 2 h 48"/>
                    <a:gd name="T30" fmla="*/ 24 w 48"/>
                    <a:gd name="T31" fmla="*/ 0 h 48"/>
                    <a:gd name="T32" fmla="*/ 24 w 48"/>
                    <a:gd name="T33" fmla="*/ 0 h 48"/>
                    <a:gd name="T34" fmla="*/ 14 w 48"/>
                    <a:gd name="T35" fmla="*/ 2 h 48"/>
                    <a:gd name="T36" fmla="*/ 6 w 48"/>
                    <a:gd name="T37" fmla="*/ 6 h 48"/>
                    <a:gd name="T38" fmla="*/ 2 w 48"/>
                    <a:gd name="T39" fmla="*/ 14 h 48"/>
                    <a:gd name="T40" fmla="*/ 0 w 48"/>
                    <a:gd name="T41" fmla="*/ 24 h 48"/>
                    <a:gd name="T42" fmla="*/ 0 w 48"/>
                    <a:gd name="T43" fmla="*/ 2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8" h="48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2" y="32"/>
                      </a:lnTo>
                      <a:lnTo>
                        <a:pt x="6" y="40"/>
                      </a:lnTo>
                      <a:lnTo>
                        <a:pt x="14" y="46"/>
                      </a:lnTo>
                      <a:lnTo>
                        <a:pt x="24" y="48"/>
                      </a:lnTo>
                      <a:lnTo>
                        <a:pt x="24" y="48"/>
                      </a:lnTo>
                      <a:lnTo>
                        <a:pt x="32" y="46"/>
                      </a:lnTo>
                      <a:lnTo>
                        <a:pt x="40" y="40"/>
                      </a:lnTo>
                      <a:lnTo>
                        <a:pt x="46" y="32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6" y="14"/>
                      </a:lnTo>
                      <a:lnTo>
                        <a:pt x="40" y="6"/>
                      </a:lnTo>
                      <a:lnTo>
                        <a:pt x="32" y="2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14" y="2"/>
                      </a:lnTo>
                      <a:lnTo>
                        <a:pt x="6" y="6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5" name="Freeform 2476"/>
                <p:cNvSpPr>
                  <a:spLocks/>
                </p:cNvSpPr>
                <p:nvPr/>
              </p:nvSpPr>
              <p:spPr bwMode="auto">
                <a:xfrm>
                  <a:off x="908050" y="7875761"/>
                  <a:ext cx="76200" cy="76200"/>
                </a:xfrm>
                <a:custGeom>
                  <a:avLst/>
                  <a:gdLst>
                    <a:gd name="T0" fmla="*/ 0 w 48"/>
                    <a:gd name="T1" fmla="*/ 24 h 48"/>
                    <a:gd name="T2" fmla="*/ 0 w 48"/>
                    <a:gd name="T3" fmla="*/ 24 h 48"/>
                    <a:gd name="T4" fmla="*/ 2 w 48"/>
                    <a:gd name="T5" fmla="*/ 32 h 48"/>
                    <a:gd name="T6" fmla="*/ 8 w 48"/>
                    <a:gd name="T7" fmla="*/ 40 h 48"/>
                    <a:gd name="T8" fmla="*/ 14 w 48"/>
                    <a:gd name="T9" fmla="*/ 46 h 48"/>
                    <a:gd name="T10" fmla="*/ 24 w 48"/>
                    <a:gd name="T11" fmla="*/ 48 h 48"/>
                    <a:gd name="T12" fmla="*/ 24 w 48"/>
                    <a:gd name="T13" fmla="*/ 48 h 48"/>
                    <a:gd name="T14" fmla="*/ 34 w 48"/>
                    <a:gd name="T15" fmla="*/ 46 h 48"/>
                    <a:gd name="T16" fmla="*/ 42 w 48"/>
                    <a:gd name="T17" fmla="*/ 40 h 48"/>
                    <a:gd name="T18" fmla="*/ 46 w 48"/>
                    <a:gd name="T19" fmla="*/ 32 h 48"/>
                    <a:gd name="T20" fmla="*/ 48 w 48"/>
                    <a:gd name="T21" fmla="*/ 24 h 48"/>
                    <a:gd name="T22" fmla="*/ 48 w 48"/>
                    <a:gd name="T23" fmla="*/ 24 h 48"/>
                    <a:gd name="T24" fmla="*/ 46 w 48"/>
                    <a:gd name="T25" fmla="*/ 14 h 48"/>
                    <a:gd name="T26" fmla="*/ 42 w 48"/>
                    <a:gd name="T27" fmla="*/ 6 h 48"/>
                    <a:gd name="T28" fmla="*/ 34 w 48"/>
                    <a:gd name="T29" fmla="*/ 2 h 48"/>
                    <a:gd name="T30" fmla="*/ 24 w 48"/>
                    <a:gd name="T31" fmla="*/ 0 h 48"/>
                    <a:gd name="T32" fmla="*/ 24 w 48"/>
                    <a:gd name="T33" fmla="*/ 0 h 48"/>
                    <a:gd name="T34" fmla="*/ 14 w 48"/>
                    <a:gd name="T35" fmla="*/ 2 h 48"/>
                    <a:gd name="T36" fmla="*/ 8 w 48"/>
                    <a:gd name="T37" fmla="*/ 6 h 48"/>
                    <a:gd name="T38" fmla="*/ 2 w 48"/>
                    <a:gd name="T39" fmla="*/ 14 h 48"/>
                    <a:gd name="T40" fmla="*/ 0 w 48"/>
                    <a:gd name="T41" fmla="*/ 24 h 48"/>
                    <a:gd name="T42" fmla="*/ 0 w 48"/>
                    <a:gd name="T43" fmla="*/ 2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8" h="48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2" y="32"/>
                      </a:lnTo>
                      <a:lnTo>
                        <a:pt x="8" y="40"/>
                      </a:lnTo>
                      <a:lnTo>
                        <a:pt x="14" y="46"/>
                      </a:lnTo>
                      <a:lnTo>
                        <a:pt x="24" y="48"/>
                      </a:lnTo>
                      <a:lnTo>
                        <a:pt x="24" y="48"/>
                      </a:lnTo>
                      <a:lnTo>
                        <a:pt x="34" y="46"/>
                      </a:lnTo>
                      <a:lnTo>
                        <a:pt x="42" y="40"/>
                      </a:lnTo>
                      <a:lnTo>
                        <a:pt x="46" y="32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6" y="14"/>
                      </a:lnTo>
                      <a:lnTo>
                        <a:pt x="42" y="6"/>
                      </a:lnTo>
                      <a:lnTo>
                        <a:pt x="34" y="2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14" y="2"/>
                      </a:lnTo>
                      <a:lnTo>
                        <a:pt x="8" y="6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6" name="Freeform 2477"/>
                <p:cNvSpPr>
                  <a:spLocks/>
                </p:cNvSpPr>
                <p:nvPr/>
              </p:nvSpPr>
              <p:spPr bwMode="auto">
                <a:xfrm>
                  <a:off x="1155700" y="8120236"/>
                  <a:ext cx="155575" cy="76200"/>
                </a:xfrm>
                <a:custGeom>
                  <a:avLst/>
                  <a:gdLst>
                    <a:gd name="T0" fmla="*/ 84 w 98"/>
                    <a:gd name="T1" fmla="*/ 4 h 48"/>
                    <a:gd name="T2" fmla="*/ 84 w 98"/>
                    <a:gd name="T3" fmla="*/ 4 h 48"/>
                    <a:gd name="T4" fmla="*/ 84 w 98"/>
                    <a:gd name="T5" fmla="*/ 4 h 48"/>
                    <a:gd name="T6" fmla="*/ 80 w 98"/>
                    <a:gd name="T7" fmla="*/ 10 h 48"/>
                    <a:gd name="T8" fmla="*/ 70 w 98"/>
                    <a:gd name="T9" fmla="*/ 20 h 48"/>
                    <a:gd name="T10" fmla="*/ 70 w 98"/>
                    <a:gd name="T11" fmla="*/ 20 h 48"/>
                    <a:gd name="T12" fmla="*/ 64 w 98"/>
                    <a:gd name="T13" fmla="*/ 24 h 48"/>
                    <a:gd name="T14" fmla="*/ 58 w 98"/>
                    <a:gd name="T15" fmla="*/ 28 h 48"/>
                    <a:gd name="T16" fmla="*/ 48 w 98"/>
                    <a:gd name="T17" fmla="*/ 30 h 48"/>
                    <a:gd name="T18" fmla="*/ 38 w 98"/>
                    <a:gd name="T19" fmla="*/ 32 h 48"/>
                    <a:gd name="T20" fmla="*/ 38 w 98"/>
                    <a:gd name="T21" fmla="*/ 32 h 48"/>
                    <a:gd name="T22" fmla="*/ 26 w 98"/>
                    <a:gd name="T23" fmla="*/ 30 h 48"/>
                    <a:gd name="T24" fmla="*/ 12 w 98"/>
                    <a:gd name="T25" fmla="*/ 24 h 48"/>
                    <a:gd name="T26" fmla="*/ 12 w 98"/>
                    <a:gd name="T27" fmla="*/ 24 h 48"/>
                    <a:gd name="T28" fmla="*/ 10 w 98"/>
                    <a:gd name="T29" fmla="*/ 24 h 48"/>
                    <a:gd name="T30" fmla="*/ 6 w 98"/>
                    <a:gd name="T31" fmla="*/ 24 h 48"/>
                    <a:gd name="T32" fmla="*/ 4 w 98"/>
                    <a:gd name="T33" fmla="*/ 26 h 48"/>
                    <a:gd name="T34" fmla="*/ 2 w 98"/>
                    <a:gd name="T35" fmla="*/ 28 h 48"/>
                    <a:gd name="T36" fmla="*/ 2 w 98"/>
                    <a:gd name="T37" fmla="*/ 28 h 48"/>
                    <a:gd name="T38" fmla="*/ 0 w 98"/>
                    <a:gd name="T39" fmla="*/ 32 h 48"/>
                    <a:gd name="T40" fmla="*/ 2 w 98"/>
                    <a:gd name="T41" fmla="*/ 34 h 48"/>
                    <a:gd name="T42" fmla="*/ 2 w 98"/>
                    <a:gd name="T43" fmla="*/ 38 h 48"/>
                    <a:gd name="T44" fmla="*/ 6 w 98"/>
                    <a:gd name="T45" fmla="*/ 40 h 48"/>
                    <a:gd name="T46" fmla="*/ 6 w 98"/>
                    <a:gd name="T47" fmla="*/ 40 h 48"/>
                    <a:gd name="T48" fmla="*/ 22 w 98"/>
                    <a:gd name="T49" fmla="*/ 46 h 48"/>
                    <a:gd name="T50" fmla="*/ 38 w 98"/>
                    <a:gd name="T51" fmla="*/ 48 h 48"/>
                    <a:gd name="T52" fmla="*/ 38 w 98"/>
                    <a:gd name="T53" fmla="*/ 48 h 48"/>
                    <a:gd name="T54" fmla="*/ 52 w 98"/>
                    <a:gd name="T55" fmla="*/ 46 h 48"/>
                    <a:gd name="T56" fmla="*/ 64 w 98"/>
                    <a:gd name="T57" fmla="*/ 42 h 48"/>
                    <a:gd name="T58" fmla="*/ 74 w 98"/>
                    <a:gd name="T59" fmla="*/ 36 h 48"/>
                    <a:gd name="T60" fmla="*/ 82 w 98"/>
                    <a:gd name="T61" fmla="*/ 30 h 48"/>
                    <a:gd name="T62" fmla="*/ 82 w 98"/>
                    <a:gd name="T63" fmla="*/ 30 h 48"/>
                    <a:gd name="T64" fmla="*/ 94 w 98"/>
                    <a:gd name="T65" fmla="*/ 18 h 48"/>
                    <a:gd name="T66" fmla="*/ 98 w 98"/>
                    <a:gd name="T67" fmla="*/ 12 h 48"/>
                    <a:gd name="T68" fmla="*/ 98 w 98"/>
                    <a:gd name="T69" fmla="*/ 12 h 48"/>
                    <a:gd name="T70" fmla="*/ 98 w 98"/>
                    <a:gd name="T71" fmla="*/ 10 h 48"/>
                    <a:gd name="T72" fmla="*/ 98 w 98"/>
                    <a:gd name="T73" fmla="*/ 6 h 48"/>
                    <a:gd name="T74" fmla="*/ 96 w 98"/>
                    <a:gd name="T75" fmla="*/ 4 h 48"/>
                    <a:gd name="T76" fmla="*/ 94 w 98"/>
                    <a:gd name="T77" fmla="*/ 2 h 48"/>
                    <a:gd name="T78" fmla="*/ 94 w 98"/>
                    <a:gd name="T79" fmla="*/ 2 h 48"/>
                    <a:gd name="T80" fmla="*/ 92 w 98"/>
                    <a:gd name="T81" fmla="*/ 0 h 48"/>
                    <a:gd name="T82" fmla="*/ 88 w 98"/>
                    <a:gd name="T83" fmla="*/ 2 h 48"/>
                    <a:gd name="T84" fmla="*/ 86 w 98"/>
                    <a:gd name="T85" fmla="*/ 2 h 48"/>
                    <a:gd name="T86" fmla="*/ 84 w 98"/>
                    <a:gd name="T87" fmla="*/ 4 h 48"/>
                    <a:gd name="T88" fmla="*/ 84 w 98"/>
                    <a:gd name="T89" fmla="*/ 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8" h="48">
                      <a:moveTo>
                        <a:pt x="84" y="4"/>
                      </a:move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0" y="10"/>
                      </a:lnTo>
                      <a:lnTo>
                        <a:pt x="70" y="20"/>
                      </a:lnTo>
                      <a:lnTo>
                        <a:pt x="70" y="20"/>
                      </a:lnTo>
                      <a:lnTo>
                        <a:pt x="64" y="24"/>
                      </a:lnTo>
                      <a:lnTo>
                        <a:pt x="58" y="28"/>
                      </a:lnTo>
                      <a:lnTo>
                        <a:pt x="48" y="30"/>
                      </a:lnTo>
                      <a:lnTo>
                        <a:pt x="38" y="32"/>
                      </a:lnTo>
                      <a:lnTo>
                        <a:pt x="38" y="32"/>
                      </a:lnTo>
                      <a:lnTo>
                        <a:pt x="26" y="30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6" y="24"/>
                      </a:lnTo>
                      <a:lnTo>
                        <a:pt x="4" y="26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0" y="32"/>
                      </a:lnTo>
                      <a:lnTo>
                        <a:pt x="2" y="34"/>
                      </a:lnTo>
                      <a:lnTo>
                        <a:pt x="2" y="38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22" y="46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52" y="46"/>
                      </a:lnTo>
                      <a:lnTo>
                        <a:pt x="64" y="42"/>
                      </a:lnTo>
                      <a:lnTo>
                        <a:pt x="74" y="36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94" y="18"/>
                      </a:lnTo>
                      <a:lnTo>
                        <a:pt x="98" y="12"/>
                      </a:lnTo>
                      <a:lnTo>
                        <a:pt x="98" y="12"/>
                      </a:lnTo>
                      <a:lnTo>
                        <a:pt x="98" y="10"/>
                      </a:lnTo>
                      <a:lnTo>
                        <a:pt x="98" y="6"/>
                      </a:lnTo>
                      <a:lnTo>
                        <a:pt x="96" y="4"/>
                      </a:lnTo>
                      <a:lnTo>
                        <a:pt x="94" y="2"/>
                      </a:lnTo>
                      <a:lnTo>
                        <a:pt x="94" y="2"/>
                      </a:lnTo>
                      <a:lnTo>
                        <a:pt x="92" y="0"/>
                      </a:lnTo>
                      <a:lnTo>
                        <a:pt x="88" y="2"/>
                      </a:lnTo>
                      <a:lnTo>
                        <a:pt x="86" y="2"/>
                      </a:lnTo>
                      <a:lnTo>
                        <a:pt x="84" y="4"/>
                      </a:lnTo>
                      <a:lnTo>
                        <a:pt x="84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7" name="Freeform 2478"/>
                <p:cNvSpPr>
                  <a:spLocks/>
                </p:cNvSpPr>
                <p:nvPr/>
              </p:nvSpPr>
              <p:spPr bwMode="auto">
                <a:xfrm>
                  <a:off x="688975" y="7272511"/>
                  <a:ext cx="1054100" cy="561975"/>
                </a:xfrm>
                <a:custGeom>
                  <a:avLst/>
                  <a:gdLst>
                    <a:gd name="T0" fmla="*/ 652 w 664"/>
                    <a:gd name="T1" fmla="*/ 352 h 354"/>
                    <a:gd name="T2" fmla="*/ 616 w 664"/>
                    <a:gd name="T3" fmla="*/ 354 h 354"/>
                    <a:gd name="T4" fmla="*/ 556 w 664"/>
                    <a:gd name="T5" fmla="*/ 116 h 354"/>
                    <a:gd name="T6" fmla="*/ 228 w 664"/>
                    <a:gd name="T7" fmla="*/ 354 h 354"/>
                    <a:gd name="T8" fmla="*/ 14 w 664"/>
                    <a:gd name="T9" fmla="*/ 354 h 354"/>
                    <a:gd name="T10" fmla="*/ 0 w 664"/>
                    <a:gd name="T11" fmla="*/ 56 h 354"/>
                    <a:gd name="T12" fmla="*/ 354 w 664"/>
                    <a:gd name="T13" fmla="*/ 0 h 354"/>
                    <a:gd name="T14" fmla="*/ 664 w 664"/>
                    <a:gd name="T15" fmla="*/ 66 h 354"/>
                    <a:gd name="T16" fmla="*/ 652 w 664"/>
                    <a:gd name="T17" fmla="*/ 352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4" h="354">
                      <a:moveTo>
                        <a:pt x="652" y="352"/>
                      </a:moveTo>
                      <a:lnTo>
                        <a:pt x="616" y="354"/>
                      </a:lnTo>
                      <a:lnTo>
                        <a:pt x="556" y="116"/>
                      </a:lnTo>
                      <a:lnTo>
                        <a:pt x="228" y="354"/>
                      </a:lnTo>
                      <a:lnTo>
                        <a:pt x="14" y="354"/>
                      </a:lnTo>
                      <a:lnTo>
                        <a:pt x="0" y="56"/>
                      </a:lnTo>
                      <a:lnTo>
                        <a:pt x="354" y="0"/>
                      </a:lnTo>
                      <a:lnTo>
                        <a:pt x="664" y="66"/>
                      </a:lnTo>
                      <a:lnTo>
                        <a:pt x="652" y="352"/>
                      </a:lnTo>
                      <a:close/>
                    </a:path>
                  </a:pathLst>
                </a:custGeom>
                <a:solidFill>
                  <a:srgbClr val="FFE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8" name="Freeform 2479"/>
                <p:cNvSpPr>
                  <a:spLocks/>
                </p:cNvSpPr>
                <p:nvPr/>
              </p:nvSpPr>
              <p:spPr bwMode="auto">
                <a:xfrm>
                  <a:off x="688975" y="7272511"/>
                  <a:ext cx="1054100" cy="561975"/>
                </a:xfrm>
                <a:custGeom>
                  <a:avLst/>
                  <a:gdLst>
                    <a:gd name="T0" fmla="*/ 652 w 664"/>
                    <a:gd name="T1" fmla="*/ 352 h 354"/>
                    <a:gd name="T2" fmla="*/ 616 w 664"/>
                    <a:gd name="T3" fmla="*/ 354 h 354"/>
                    <a:gd name="T4" fmla="*/ 556 w 664"/>
                    <a:gd name="T5" fmla="*/ 116 h 354"/>
                    <a:gd name="T6" fmla="*/ 228 w 664"/>
                    <a:gd name="T7" fmla="*/ 354 h 354"/>
                    <a:gd name="T8" fmla="*/ 14 w 664"/>
                    <a:gd name="T9" fmla="*/ 354 h 354"/>
                    <a:gd name="T10" fmla="*/ 0 w 664"/>
                    <a:gd name="T11" fmla="*/ 56 h 354"/>
                    <a:gd name="T12" fmla="*/ 354 w 664"/>
                    <a:gd name="T13" fmla="*/ 0 h 354"/>
                    <a:gd name="T14" fmla="*/ 664 w 664"/>
                    <a:gd name="T15" fmla="*/ 66 h 354"/>
                    <a:gd name="T16" fmla="*/ 652 w 664"/>
                    <a:gd name="T17" fmla="*/ 352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4" h="354">
                      <a:moveTo>
                        <a:pt x="652" y="352"/>
                      </a:moveTo>
                      <a:lnTo>
                        <a:pt x="616" y="354"/>
                      </a:lnTo>
                      <a:lnTo>
                        <a:pt x="556" y="116"/>
                      </a:lnTo>
                      <a:lnTo>
                        <a:pt x="228" y="354"/>
                      </a:lnTo>
                      <a:lnTo>
                        <a:pt x="14" y="354"/>
                      </a:lnTo>
                      <a:lnTo>
                        <a:pt x="0" y="56"/>
                      </a:lnTo>
                      <a:lnTo>
                        <a:pt x="354" y="0"/>
                      </a:lnTo>
                      <a:lnTo>
                        <a:pt x="664" y="66"/>
                      </a:lnTo>
                      <a:lnTo>
                        <a:pt x="652" y="352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9" name="Freeform 2480"/>
                <p:cNvSpPr>
                  <a:spLocks/>
                </p:cNvSpPr>
                <p:nvPr/>
              </p:nvSpPr>
              <p:spPr bwMode="auto">
                <a:xfrm>
                  <a:off x="1133475" y="8018636"/>
                  <a:ext cx="165100" cy="41275"/>
                </a:xfrm>
                <a:custGeom>
                  <a:avLst/>
                  <a:gdLst>
                    <a:gd name="T0" fmla="*/ 8 w 104"/>
                    <a:gd name="T1" fmla="*/ 0 h 26"/>
                    <a:gd name="T2" fmla="*/ 8 w 104"/>
                    <a:gd name="T3" fmla="*/ 0 h 26"/>
                    <a:gd name="T4" fmla="*/ 4 w 104"/>
                    <a:gd name="T5" fmla="*/ 0 h 26"/>
                    <a:gd name="T6" fmla="*/ 2 w 104"/>
                    <a:gd name="T7" fmla="*/ 2 h 26"/>
                    <a:gd name="T8" fmla="*/ 2 w 104"/>
                    <a:gd name="T9" fmla="*/ 2 h 26"/>
                    <a:gd name="T10" fmla="*/ 0 w 104"/>
                    <a:gd name="T11" fmla="*/ 6 h 26"/>
                    <a:gd name="T12" fmla="*/ 0 w 104"/>
                    <a:gd name="T13" fmla="*/ 8 h 26"/>
                    <a:gd name="T14" fmla="*/ 2 w 104"/>
                    <a:gd name="T15" fmla="*/ 12 h 26"/>
                    <a:gd name="T16" fmla="*/ 4 w 104"/>
                    <a:gd name="T17" fmla="*/ 14 h 26"/>
                    <a:gd name="T18" fmla="*/ 4 w 104"/>
                    <a:gd name="T19" fmla="*/ 14 h 26"/>
                    <a:gd name="T20" fmla="*/ 8 w 104"/>
                    <a:gd name="T21" fmla="*/ 16 h 26"/>
                    <a:gd name="T22" fmla="*/ 18 w 104"/>
                    <a:gd name="T23" fmla="*/ 20 h 26"/>
                    <a:gd name="T24" fmla="*/ 32 w 104"/>
                    <a:gd name="T25" fmla="*/ 24 h 26"/>
                    <a:gd name="T26" fmla="*/ 52 w 104"/>
                    <a:gd name="T27" fmla="*/ 26 h 26"/>
                    <a:gd name="T28" fmla="*/ 52 w 104"/>
                    <a:gd name="T29" fmla="*/ 26 h 26"/>
                    <a:gd name="T30" fmla="*/ 72 w 104"/>
                    <a:gd name="T31" fmla="*/ 24 h 26"/>
                    <a:gd name="T32" fmla="*/ 88 w 104"/>
                    <a:gd name="T33" fmla="*/ 20 h 26"/>
                    <a:gd name="T34" fmla="*/ 98 w 104"/>
                    <a:gd name="T35" fmla="*/ 16 h 26"/>
                    <a:gd name="T36" fmla="*/ 102 w 104"/>
                    <a:gd name="T37" fmla="*/ 14 h 26"/>
                    <a:gd name="T38" fmla="*/ 102 w 104"/>
                    <a:gd name="T39" fmla="*/ 14 h 26"/>
                    <a:gd name="T40" fmla="*/ 104 w 104"/>
                    <a:gd name="T41" fmla="*/ 12 h 26"/>
                    <a:gd name="T42" fmla="*/ 104 w 104"/>
                    <a:gd name="T43" fmla="*/ 8 h 26"/>
                    <a:gd name="T44" fmla="*/ 104 w 104"/>
                    <a:gd name="T45" fmla="*/ 6 h 26"/>
                    <a:gd name="T46" fmla="*/ 104 w 104"/>
                    <a:gd name="T47" fmla="*/ 2 h 26"/>
                    <a:gd name="T48" fmla="*/ 104 w 104"/>
                    <a:gd name="T49" fmla="*/ 2 h 26"/>
                    <a:gd name="T50" fmla="*/ 100 w 104"/>
                    <a:gd name="T51" fmla="*/ 0 h 26"/>
                    <a:gd name="T52" fmla="*/ 96 w 104"/>
                    <a:gd name="T53" fmla="*/ 0 h 26"/>
                    <a:gd name="T54" fmla="*/ 96 w 104"/>
                    <a:gd name="T55" fmla="*/ 0 h 26"/>
                    <a:gd name="T56" fmla="*/ 92 w 104"/>
                    <a:gd name="T57" fmla="*/ 0 h 26"/>
                    <a:gd name="T58" fmla="*/ 92 w 104"/>
                    <a:gd name="T59" fmla="*/ 0 h 26"/>
                    <a:gd name="T60" fmla="*/ 92 w 104"/>
                    <a:gd name="T61" fmla="*/ 0 h 26"/>
                    <a:gd name="T62" fmla="*/ 82 w 104"/>
                    <a:gd name="T63" fmla="*/ 6 h 26"/>
                    <a:gd name="T64" fmla="*/ 70 w 104"/>
                    <a:gd name="T65" fmla="*/ 8 h 26"/>
                    <a:gd name="T66" fmla="*/ 52 w 104"/>
                    <a:gd name="T67" fmla="*/ 10 h 26"/>
                    <a:gd name="T68" fmla="*/ 52 w 104"/>
                    <a:gd name="T69" fmla="*/ 10 h 26"/>
                    <a:gd name="T70" fmla="*/ 36 w 104"/>
                    <a:gd name="T71" fmla="*/ 8 h 26"/>
                    <a:gd name="T72" fmla="*/ 22 w 104"/>
                    <a:gd name="T73" fmla="*/ 6 h 26"/>
                    <a:gd name="T74" fmla="*/ 22 w 104"/>
                    <a:gd name="T75" fmla="*/ 6 h 26"/>
                    <a:gd name="T76" fmla="*/ 14 w 104"/>
                    <a:gd name="T77" fmla="*/ 2 h 26"/>
                    <a:gd name="T78" fmla="*/ 14 w 104"/>
                    <a:gd name="T79" fmla="*/ 2 h 26"/>
                    <a:gd name="T80" fmla="*/ 14 w 104"/>
                    <a:gd name="T81" fmla="*/ 0 h 26"/>
                    <a:gd name="T82" fmla="*/ 12 w 104"/>
                    <a:gd name="T83" fmla="*/ 0 h 26"/>
                    <a:gd name="T84" fmla="*/ 12 w 104"/>
                    <a:gd name="T85" fmla="*/ 0 h 26"/>
                    <a:gd name="T86" fmla="*/ 12 w 104"/>
                    <a:gd name="T87" fmla="*/ 0 h 26"/>
                    <a:gd name="T88" fmla="*/ 12 w 104"/>
                    <a:gd name="T89" fmla="*/ 0 h 26"/>
                    <a:gd name="T90" fmla="*/ 12 w 104"/>
                    <a:gd name="T91" fmla="*/ 0 h 26"/>
                    <a:gd name="T92" fmla="*/ 12 w 104"/>
                    <a:gd name="T93" fmla="*/ 0 h 26"/>
                    <a:gd name="T94" fmla="*/ 12 w 104"/>
                    <a:gd name="T95" fmla="*/ 0 h 26"/>
                    <a:gd name="T96" fmla="*/ 8 w 104"/>
                    <a:gd name="T9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04" h="2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6"/>
                      </a:lnTo>
                      <a:lnTo>
                        <a:pt x="18" y="20"/>
                      </a:lnTo>
                      <a:lnTo>
                        <a:pt x="32" y="24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72" y="24"/>
                      </a:lnTo>
                      <a:lnTo>
                        <a:pt x="88" y="20"/>
                      </a:lnTo>
                      <a:lnTo>
                        <a:pt x="98" y="16"/>
                      </a:lnTo>
                      <a:lnTo>
                        <a:pt x="102" y="14"/>
                      </a:lnTo>
                      <a:lnTo>
                        <a:pt x="102" y="14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6"/>
                      </a:ln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00" y="0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2" y="6"/>
                      </a:lnTo>
                      <a:lnTo>
                        <a:pt x="70" y="8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36" y="8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6E4E3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0" name="Freeform 2481"/>
                <p:cNvSpPr>
                  <a:spLocks/>
                </p:cNvSpPr>
                <p:nvPr/>
              </p:nvSpPr>
              <p:spPr bwMode="auto">
                <a:xfrm>
                  <a:off x="1133475" y="8018636"/>
                  <a:ext cx="165100" cy="41275"/>
                </a:xfrm>
                <a:custGeom>
                  <a:avLst/>
                  <a:gdLst>
                    <a:gd name="T0" fmla="*/ 8 w 104"/>
                    <a:gd name="T1" fmla="*/ 0 h 26"/>
                    <a:gd name="T2" fmla="*/ 8 w 104"/>
                    <a:gd name="T3" fmla="*/ 0 h 26"/>
                    <a:gd name="T4" fmla="*/ 4 w 104"/>
                    <a:gd name="T5" fmla="*/ 0 h 26"/>
                    <a:gd name="T6" fmla="*/ 2 w 104"/>
                    <a:gd name="T7" fmla="*/ 2 h 26"/>
                    <a:gd name="T8" fmla="*/ 2 w 104"/>
                    <a:gd name="T9" fmla="*/ 2 h 26"/>
                    <a:gd name="T10" fmla="*/ 0 w 104"/>
                    <a:gd name="T11" fmla="*/ 6 h 26"/>
                    <a:gd name="T12" fmla="*/ 0 w 104"/>
                    <a:gd name="T13" fmla="*/ 8 h 26"/>
                    <a:gd name="T14" fmla="*/ 2 w 104"/>
                    <a:gd name="T15" fmla="*/ 12 h 26"/>
                    <a:gd name="T16" fmla="*/ 4 w 104"/>
                    <a:gd name="T17" fmla="*/ 14 h 26"/>
                    <a:gd name="T18" fmla="*/ 4 w 104"/>
                    <a:gd name="T19" fmla="*/ 14 h 26"/>
                    <a:gd name="T20" fmla="*/ 8 w 104"/>
                    <a:gd name="T21" fmla="*/ 16 h 26"/>
                    <a:gd name="T22" fmla="*/ 18 w 104"/>
                    <a:gd name="T23" fmla="*/ 20 h 26"/>
                    <a:gd name="T24" fmla="*/ 32 w 104"/>
                    <a:gd name="T25" fmla="*/ 24 h 26"/>
                    <a:gd name="T26" fmla="*/ 52 w 104"/>
                    <a:gd name="T27" fmla="*/ 26 h 26"/>
                    <a:gd name="T28" fmla="*/ 52 w 104"/>
                    <a:gd name="T29" fmla="*/ 26 h 26"/>
                    <a:gd name="T30" fmla="*/ 72 w 104"/>
                    <a:gd name="T31" fmla="*/ 24 h 26"/>
                    <a:gd name="T32" fmla="*/ 88 w 104"/>
                    <a:gd name="T33" fmla="*/ 20 h 26"/>
                    <a:gd name="T34" fmla="*/ 98 w 104"/>
                    <a:gd name="T35" fmla="*/ 16 h 26"/>
                    <a:gd name="T36" fmla="*/ 102 w 104"/>
                    <a:gd name="T37" fmla="*/ 14 h 26"/>
                    <a:gd name="T38" fmla="*/ 102 w 104"/>
                    <a:gd name="T39" fmla="*/ 14 h 26"/>
                    <a:gd name="T40" fmla="*/ 104 w 104"/>
                    <a:gd name="T41" fmla="*/ 12 h 26"/>
                    <a:gd name="T42" fmla="*/ 104 w 104"/>
                    <a:gd name="T43" fmla="*/ 8 h 26"/>
                    <a:gd name="T44" fmla="*/ 104 w 104"/>
                    <a:gd name="T45" fmla="*/ 6 h 26"/>
                    <a:gd name="T46" fmla="*/ 104 w 104"/>
                    <a:gd name="T47" fmla="*/ 2 h 26"/>
                    <a:gd name="T48" fmla="*/ 104 w 104"/>
                    <a:gd name="T49" fmla="*/ 2 h 26"/>
                    <a:gd name="T50" fmla="*/ 100 w 104"/>
                    <a:gd name="T51" fmla="*/ 0 h 26"/>
                    <a:gd name="T52" fmla="*/ 96 w 104"/>
                    <a:gd name="T53" fmla="*/ 0 h 26"/>
                    <a:gd name="T54" fmla="*/ 96 w 104"/>
                    <a:gd name="T55" fmla="*/ 0 h 26"/>
                    <a:gd name="T56" fmla="*/ 92 w 104"/>
                    <a:gd name="T57" fmla="*/ 0 h 26"/>
                    <a:gd name="T58" fmla="*/ 92 w 104"/>
                    <a:gd name="T59" fmla="*/ 0 h 26"/>
                    <a:gd name="T60" fmla="*/ 92 w 104"/>
                    <a:gd name="T61" fmla="*/ 0 h 26"/>
                    <a:gd name="T62" fmla="*/ 82 w 104"/>
                    <a:gd name="T63" fmla="*/ 6 h 26"/>
                    <a:gd name="T64" fmla="*/ 70 w 104"/>
                    <a:gd name="T65" fmla="*/ 8 h 26"/>
                    <a:gd name="T66" fmla="*/ 52 w 104"/>
                    <a:gd name="T67" fmla="*/ 10 h 26"/>
                    <a:gd name="T68" fmla="*/ 52 w 104"/>
                    <a:gd name="T69" fmla="*/ 10 h 26"/>
                    <a:gd name="T70" fmla="*/ 36 w 104"/>
                    <a:gd name="T71" fmla="*/ 8 h 26"/>
                    <a:gd name="T72" fmla="*/ 22 w 104"/>
                    <a:gd name="T73" fmla="*/ 6 h 26"/>
                    <a:gd name="T74" fmla="*/ 22 w 104"/>
                    <a:gd name="T75" fmla="*/ 6 h 26"/>
                    <a:gd name="T76" fmla="*/ 14 w 104"/>
                    <a:gd name="T77" fmla="*/ 2 h 26"/>
                    <a:gd name="T78" fmla="*/ 14 w 104"/>
                    <a:gd name="T79" fmla="*/ 2 h 26"/>
                    <a:gd name="T80" fmla="*/ 14 w 104"/>
                    <a:gd name="T81" fmla="*/ 0 h 26"/>
                    <a:gd name="T82" fmla="*/ 12 w 104"/>
                    <a:gd name="T83" fmla="*/ 0 h 26"/>
                    <a:gd name="T84" fmla="*/ 12 w 104"/>
                    <a:gd name="T85" fmla="*/ 0 h 26"/>
                    <a:gd name="T86" fmla="*/ 12 w 104"/>
                    <a:gd name="T87" fmla="*/ 0 h 26"/>
                    <a:gd name="T88" fmla="*/ 12 w 104"/>
                    <a:gd name="T89" fmla="*/ 0 h 26"/>
                    <a:gd name="T90" fmla="*/ 12 w 104"/>
                    <a:gd name="T91" fmla="*/ 0 h 26"/>
                    <a:gd name="T92" fmla="*/ 12 w 104"/>
                    <a:gd name="T93" fmla="*/ 0 h 26"/>
                    <a:gd name="T94" fmla="*/ 12 w 104"/>
                    <a:gd name="T95" fmla="*/ 0 h 26"/>
                    <a:gd name="T96" fmla="*/ 8 w 104"/>
                    <a:gd name="T9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04" h="2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6"/>
                      </a:lnTo>
                      <a:lnTo>
                        <a:pt x="18" y="20"/>
                      </a:lnTo>
                      <a:lnTo>
                        <a:pt x="32" y="24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72" y="24"/>
                      </a:lnTo>
                      <a:lnTo>
                        <a:pt x="88" y="20"/>
                      </a:lnTo>
                      <a:lnTo>
                        <a:pt x="98" y="16"/>
                      </a:lnTo>
                      <a:lnTo>
                        <a:pt x="102" y="14"/>
                      </a:lnTo>
                      <a:lnTo>
                        <a:pt x="102" y="14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6"/>
                      </a:ln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00" y="0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2" y="6"/>
                      </a:lnTo>
                      <a:lnTo>
                        <a:pt x="70" y="8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36" y="8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1" name="Freeform 2482"/>
                <p:cNvSpPr>
                  <a:spLocks/>
                </p:cNvSpPr>
                <p:nvPr/>
              </p:nvSpPr>
              <p:spPr bwMode="auto">
                <a:xfrm>
                  <a:off x="809625" y="7075661"/>
                  <a:ext cx="371475" cy="266700"/>
                </a:xfrm>
                <a:custGeom>
                  <a:avLst/>
                  <a:gdLst>
                    <a:gd name="T0" fmla="*/ 226 w 234"/>
                    <a:gd name="T1" fmla="*/ 0 h 168"/>
                    <a:gd name="T2" fmla="*/ 226 w 234"/>
                    <a:gd name="T3" fmla="*/ 0 h 168"/>
                    <a:gd name="T4" fmla="*/ 226 w 234"/>
                    <a:gd name="T5" fmla="*/ 0 h 168"/>
                    <a:gd name="T6" fmla="*/ 226 w 234"/>
                    <a:gd name="T7" fmla="*/ 0 h 168"/>
                    <a:gd name="T8" fmla="*/ 208 w 234"/>
                    <a:gd name="T9" fmla="*/ 2 h 168"/>
                    <a:gd name="T10" fmla="*/ 190 w 234"/>
                    <a:gd name="T11" fmla="*/ 6 h 168"/>
                    <a:gd name="T12" fmla="*/ 172 w 234"/>
                    <a:gd name="T13" fmla="*/ 14 h 168"/>
                    <a:gd name="T14" fmla="*/ 154 w 234"/>
                    <a:gd name="T15" fmla="*/ 22 h 168"/>
                    <a:gd name="T16" fmla="*/ 136 w 234"/>
                    <a:gd name="T17" fmla="*/ 32 h 168"/>
                    <a:gd name="T18" fmla="*/ 118 w 234"/>
                    <a:gd name="T19" fmla="*/ 44 h 168"/>
                    <a:gd name="T20" fmla="*/ 82 w 234"/>
                    <a:gd name="T21" fmla="*/ 70 h 168"/>
                    <a:gd name="T22" fmla="*/ 82 w 234"/>
                    <a:gd name="T23" fmla="*/ 70 h 168"/>
                    <a:gd name="T24" fmla="*/ 58 w 234"/>
                    <a:gd name="T25" fmla="*/ 92 h 168"/>
                    <a:gd name="T26" fmla="*/ 36 w 234"/>
                    <a:gd name="T27" fmla="*/ 116 h 168"/>
                    <a:gd name="T28" fmla="*/ 16 w 234"/>
                    <a:gd name="T29" fmla="*/ 142 h 168"/>
                    <a:gd name="T30" fmla="*/ 0 w 234"/>
                    <a:gd name="T31" fmla="*/ 168 h 168"/>
                    <a:gd name="T32" fmla="*/ 20 w 234"/>
                    <a:gd name="T33" fmla="*/ 164 h 168"/>
                    <a:gd name="T34" fmla="*/ 20 w 234"/>
                    <a:gd name="T35" fmla="*/ 164 h 168"/>
                    <a:gd name="T36" fmla="*/ 34 w 234"/>
                    <a:gd name="T37" fmla="*/ 144 h 168"/>
                    <a:gd name="T38" fmla="*/ 52 w 234"/>
                    <a:gd name="T39" fmla="*/ 122 h 168"/>
                    <a:gd name="T40" fmla="*/ 72 w 234"/>
                    <a:gd name="T41" fmla="*/ 102 h 168"/>
                    <a:gd name="T42" fmla="*/ 92 w 234"/>
                    <a:gd name="T43" fmla="*/ 82 h 168"/>
                    <a:gd name="T44" fmla="*/ 92 w 234"/>
                    <a:gd name="T45" fmla="*/ 82 h 168"/>
                    <a:gd name="T46" fmla="*/ 126 w 234"/>
                    <a:gd name="T47" fmla="*/ 56 h 168"/>
                    <a:gd name="T48" fmla="*/ 144 w 234"/>
                    <a:gd name="T49" fmla="*/ 46 h 168"/>
                    <a:gd name="T50" fmla="*/ 160 w 234"/>
                    <a:gd name="T51" fmla="*/ 36 h 168"/>
                    <a:gd name="T52" fmla="*/ 178 w 234"/>
                    <a:gd name="T53" fmla="*/ 28 h 168"/>
                    <a:gd name="T54" fmla="*/ 196 w 234"/>
                    <a:gd name="T55" fmla="*/ 22 h 168"/>
                    <a:gd name="T56" fmla="*/ 212 w 234"/>
                    <a:gd name="T57" fmla="*/ 18 h 168"/>
                    <a:gd name="T58" fmla="*/ 228 w 234"/>
                    <a:gd name="T59" fmla="*/ 16 h 168"/>
                    <a:gd name="T60" fmla="*/ 228 w 234"/>
                    <a:gd name="T61" fmla="*/ 16 h 168"/>
                    <a:gd name="T62" fmla="*/ 230 w 234"/>
                    <a:gd name="T63" fmla="*/ 14 h 168"/>
                    <a:gd name="T64" fmla="*/ 234 w 234"/>
                    <a:gd name="T65" fmla="*/ 12 h 168"/>
                    <a:gd name="T66" fmla="*/ 234 w 234"/>
                    <a:gd name="T67" fmla="*/ 10 h 168"/>
                    <a:gd name="T68" fmla="*/ 234 w 234"/>
                    <a:gd name="T69" fmla="*/ 6 h 168"/>
                    <a:gd name="T70" fmla="*/ 234 w 234"/>
                    <a:gd name="T71" fmla="*/ 6 h 168"/>
                    <a:gd name="T72" fmla="*/ 232 w 234"/>
                    <a:gd name="T73" fmla="*/ 2 h 168"/>
                    <a:gd name="T74" fmla="*/ 226 w 234"/>
                    <a:gd name="T7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4" h="168">
                      <a:moveTo>
                        <a:pt x="226" y="0"/>
                      </a:move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08" y="2"/>
                      </a:lnTo>
                      <a:lnTo>
                        <a:pt x="190" y="6"/>
                      </a:lnTo>
                      <a:lnTo>
                        <a:pt x="172" y="14"/>
                      </a:lnTo>
                      <a:lnTo>
                        <a:pt x="154" y="22"/>
                      </a:lnTo>
                      <a:lnTo>
                        <a:pt x="136" y="32"/>
                      </a:lnTo>
                      <a:lnTo>
                        <a:pt x="118" y="44"/>
                      </a:lnTo>
                      <a:lnTo>
                        <a:pt x="82" y="70"/>
                      </a:lnTo>
                      <a:lnTo>
                        <a:pt x="82" y="70"/>
                      </a:lnTo>
                      <a:lnTo>
                        <a:pt x="58" y="92"/>
                      </a:lnTo>
                      <a:lnTo>
                        <a:pt x="36" y="116"/>
                      </a:lnTo>
                      <a:lnTo>
                        <a:pt x="16" y="142"/>
                      </a:lnTo>
                      <a:lnTo>
                        <a:pt x="0" y="168"/>
                      </a:lnTo>
                      <a:lnTo>
                        <a:pt x="20" y="164"/>
                      </a:lnTo>
                      <a:lnTo>
                        <a:pt x="20" y="164"/>
                      </a:lnTo>
                      <a:lnTo>
                        <a:pt x="34" y="144"/>
                      </a:lnTo>
                      <a:lnTo>
                        <a:pt x="52" y="122"/>
                      </a:lnTo>
                      <a:lnTo>
                        <a:pt x="72" y="102"/>
                      </a:lnTo>
                      <a:lnTo>
                        <a:pt x="92" y="82"/>
                      </a:lnTo>
                      <a:lnTo>
                        <a:pt x="92" y="82"/>
                      </a:lnTo>
                      <a:lnTo>
                        <a:pt x="126" y="56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78" y="28"/>
                      </a:lnTo>
                      <a:lnTo>
                        <a:pt x="196" y="22"/>
                      </a:lnTo>
                      <a:lnTo>
                        <a:pt x="212" y="18"/>
                      </a:lnTo>
                      <a:lnTo>
                        <a:pt x="228" y="16"/>
                      </a:lnTo>
                      <a:lnTo>
                        <a:pt x="228" y="16"/>
                      </a:lnTo>
                      <a:lnTo>
                        <a:pt x="230" y="14"/>
                      </a:lnTo>
                      <a:lnTo>
                        <a:pt x="234" y="12"/>
                      </a:lnTo>
                      <a:lnTo>
                        <a:pt x="234" y="10"/>
                      </a:lnTo>
                      <a:lnTo>
                        <a:pt x="234" y="6"/>
                      </a:lnTo>
                      <a:lnTo>
                        <a:pt x="234" y="6"/>
                      </a:lnTo>
                      <a:lnTo>
                        <a:pt x="232" y="2"/>
                      </a:lnTo>
                      <a:lnTo>
                        <a:pt x="226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2" name="Freeform 2483"/>
                <p:cNvSpPr>
                  <a:spLocks/>
                </p:cNvSpPr>
                <p:nvPr/>
              </p:nvSpPr>
              <p:spPr bwMode="auto">
                <a:xfrm>
                  <a:off x="809625" y="7075661"/>
                  <a:ext cx="371475" cy="266700"/>
                </a:xfrm>
                <a:custGeom>
                  <a:avLst/>
                  <a:gdLst>
                    <a:gd name="T0" fmla="*/ 226 w 234"/>
                    <a:gd name="T1" fmla="*/ 0 h 168"/>
                    <a:gd name="T2" fmla="*/ 226 w 234"/>
                    <a:gd name="T3" fmla="*/ 0 h 168"/>
                    <a:gd name="T4" fmla="*/ 226 w 234"/>
                    <a:gd name="T5" fmla="*/ 0 h 168"/>
                    <a:gd name="T6" fmla="*/ 226 w 234"/>
                    <a:gd name="T7" fmla="*/ 0 h 168"/>
                    <a:gd name="T8" fmla="*/ 208 w 234"/>
                    <a:gd name="T9" fmla="*/ 2 h 168"/>
                    <a:gd name="T10" fmla="*/ 190 w 234"/>
                    <a:gd name="T11" fmla="*/ 6 h 168"/>
                    <a:gd name="T12" fmla="*/ 172 w 234"/>
                    <a:gd name="T13" fmla="*/ 14 h 168"/>
                    <a:gd name="T14" fmla="*/ 154 w 234"/>
                    <a:gd name="T15" fmla="*/ 22 h 168"/>
                    <a:gd name="T16" fmla="*/ 136 w 234"/>
                    <a:gd name="T17" fmla="*/ 32 h 168"/>
                    <a:gd name="T18" fmla="*/ 118 w 234"/>
                    <a:gd name="T19" fmla="*/ 44 h 168"/>
                    <a:gd name="T20" fmla="*/ 82 w 234"/>
                    <a:gd name="T21" fmla="*/ 70 h 168"/>
                    <a:gd name="T22" fmla="*/ 82 w 234"/>
                    <a:gd name="T23" fmla="*/ 70 h 168"/>
                    <a:gd name="T24" fmla="*/ 58 w 234"/>
                    <a:gd name="T25" fmla="*/ 92 h 168"/>
                    <a:gd name="T26" fmla="*/ 36 w 234"/>
                    <a:gd name="T27" fmla="*/ 116 h 168"/>
                    <a:gd name="T28" fmla="*/ 16 w 234"/>
                    <a:gd name="T29" fmla="*/ 142 h 168"/>
                    <a:gd name="T30" fmla="*/ 0 w 234"/>
                    <a:gd name="T31" fmla="*/ 168 h 168"/>
                    <a:gd name="T32" fmla="*/ 20 w 234"/>
                    <a:gd name="T33" fmla="*/ 164 h 168"/>
                    <a:gd name="T34" fmla="*/ 20 w 234"/>
                    <a:gd name="T35" fmla="*/ 164 h 168"/>
                    <a:gd name="T36" fmla="*/ 34 w 234"/>
                    <a:gd name="T37" fmla="*/ 144 h 168"/>
                    <a:gd name="T38" fmla="*/ 52 w 234"/>
                    <a:gd name="T39" fmla="*/ 122 h 168"/>
                    <a:gd name="T40" fmla="*/ 72 w 234"/>
                    <a:gd name="T41" fmla="*/ 102 h 168"/>
                    <a:gd name="T42" fmla="*/ 92 w 234"/>
                    <a:gd name="T43" fmla="*/ 82 h 168"/>
                    <a:gd name="T44" fmla="*/ 92 w 234"/>
                    <a:gd name="T45" fmla="*/ 82 h 168"/>
                    <a:gd name="T46" fmla="*/ 126 w 234"/>
                    <a:gd name="T47" fmla="*/ 56 h 168"/>
                    <a:gd name="T48" fmla="*/ 144 w 234"/>
                    <a:gd name="T49" fmla="*/ 46 h 168"/>
                    <a:gd name="T50" fmla="*/ 160 w 234"/>
                    <a:gd name="T51" fmla="*/ 36 h 168"/>
                    <a:gd name="T52" fmla="*/ 178 w 234"/>
                    <a:gd name="T53" fmla="*/ 28 h 168"/>
                    <a:gd name="T54" fmla="*/ 196 w 234"/>
                    <a:gd name="T55" fmla="*/ 22 h 168"/>
                    <a:gd name="T56" fmla="*/ 212 w 234"/>
                    <a:gd name="T57" fmla="*/ 18 h 168"/>
                    <a:gd name="T58" fmla="*/ 228 w 234"/>
                    <a:gd name="T59" fmla="*/ 16 h 168"/>
                    <a:gd name="T60" fmla="*/ 228 w 234"/>
                    <a:gd name="T61" fmla="*/ 16 h 168"/>
                    <a:gd name="T62" fmla="*/ 230 w 234"/>
                    <a:gd name="T63" fmla="*/ 14 h 168"/>
                    <a:gd name="T64" fmla="*/ 234 w 234"/>
                    <a:gd name="T65" fmla="*/ 12 h 168"/>
                    <a:gd name="T66" fmla="*/ 234 w 234"/>
                    <a:gd name="T67" fmla="*/ 10 h 168"/>
                    <a:gd name="T68" fmla="*/ 234 w 234"/>
                    <a:gd name="T69" fmla="*/ 6 h 168"/>
                    <a:gd name="T70" fmla="*/ 234 w 234"/>
                    <a:gd name="T71" fmla="*/ 6 h 168"/>
                    <a:gd name="T72" fmla="*/ 232 w 234"/>
                    <a:gd name="T73" fmla="*/ 2 h 168"/>
                    <a:gd name="T74" fmla="*/ 226 w 234"/>
                    <a:gd name="T7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4" h="168">
                      <a:moveTo>
                        <a:pt x="226" y="0"/>
                      </a:move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08" y="2"/>
                      </a:lnTo>
                      <a:lnTo>
                        <a:pt x="190" y="6"/>
                      </a:lnTo>
                      <a:lnTo>
                        <a:pt x="172" y="14"/>
                      </a:lnTo>
                      <a:lnTo>
                        <a:pt x="154" y="22"/>
                      </a:lnTo>
                      <a:lnTo>
                        <a:pt x="136" y="32"/>
                      </a:lnTo>
                      <a:lnTo>
                        <a:pt x="118" y="44"/>
                      </a:lnTo>
                      <a:lnTo>
                        <a:pt x="82" y="70"/>
                      </a:lnTo>
                      <a:lnTo>
                        <a:pt x="82" y="70"/>
                      </a:lnTo>
                      <a:lnTo>
                        <a:pt x="58" y="92"/>
                      </a:lnTo>
                      <a:lnTo>
                        <a:pt x="36" y="116"/>
                      </a:lnTo>
                      <a:lnTo>
                        <a:pt x="16" y="142"/>
                      </a:lnTo>
                      <a:lnTo>
                        <a:pt x="0" y="168"/>
                      </a:lnTo>
                      <a:lnTo>
                        <a:pt x="20" y="164"/>
                      </a:lnTo>
                      <a:lnTo>
                        <a:pt x="20" y="164"/>
                      </a:lnTo>
                      <a:lnTo>
                        <a:pt x="34" y="144"/>
                      </a:lnTo>
                      <a:lnTo>
                        <a:pt x="52" y="122"/>
                      </a:lnTo>
                      <a:lnTo>
                        <a:pt x="72" y="102"/>
                      </a:lnTo>
                      <a:lnTo>
                        <a:pt x="92" y="82"/>
                      </a:lnTo>
                      <a:lnTo>
                        <a:pt x="92" y="82"/>
                      </a:lnTo>
                      <a:lnTo>
                        <a:pt x="126" y="56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78" y="28"/>
                      </a:lnTo>
                      <a:lnTo>
                        <a:pt x="196" y="22"/>
                      </a:lnTo>
                      <a:lnTo>
                        <a:pt x="212" y="18"/>
                      </a:lnTo>
                      <a:lnTo>
                        <a:pt x="228" y="16"/>
                      </a:lnTo>
                      <a:lnTo>
                        <a:pt x="228" y="16"/>
                      </a:lnTo>
                      <a:lnTo>
                        <a:pt x="230" y="14"/>
                      </a:lnTo>
                      <a:lnTo>
                        <a:pt x="234" y="12"/>
                      </a:lnTo>
                      <a:lnTo>
                        <a:pt x="234" y="10"/>
                      </a:lnTo>
                      <a:lnTo>
                        <a:pt x="234" y="6"/>
                      </a:lnTo>
                      <a:lnTo>
                        <a:pt x="234" y="6"/>
                      </a:lnTo>
                      <a:lnTo>
                        <a:pt x="232" y="2"/>
                      </a:lnTo>
                      <a:lnTo>
                        <a:pt x="22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3" name="Freeform 2484"/>
                <p:cNvSpPr>
                  <a:spLocks/>
                </p:cNvSpPr>
                <p:nvPr/>
              </p:nvSpPr>
              <p:spPr bwMode="auto">
                <a:xfrm>
                  <a:off x="787400" y="7336011"/>
                  <a:ext cx="53975" cy="73025"/>
                </a:xfrm>
                <a:custGeom>
                  <a:avLst/>
                  <a:gdLst>
                    <a:gd name="T0" fmla="*/ 34 w 34"/>
                    <a:gd name="T1" fmla="*/ 0 h 46"/>
                    <a:gd name="T2" fmla="*/ 14 w 34"/>
                    <a:gd name="T3" fmla="*/ 4 h 46"/>
                    <a:gd name="T4" fmla="*/ 14 w 34"/>
                    <a:gd name="T5" fmla="*/ 4 h 46"/>
                    <a:gd name="T6" fmla="*/ 6 w 34"/>
                    <a:gd name="T7" fmla="*/ 20 h 46"/>
                    <a:gd name="T8" fmla="*/ 0 w 34"/>
                    <a:gd name="T9" fmla="*/ 36 h 46"/>
                    <a:gd name="T10" fmla="*/ 0 w 34"/>
                    <a:gd name="T11" fmla="*/ 36 h 46"/>
                    <a:gd name="T12" fmla="*/ 0 w 34"/>
                    <a:gd name="T13" fmla="*/ 38 h 46"/>
                    <a:gd name="T14" fmla="*/ 0 w 34"/>
                    <a:gd name="T15" fmla="*/ 42 h 46"/>
                    <a:gd name="T16" fmla="*/ 2 w 34"/>
                    <a:gd name="T17" fmla="*/ 44 h 46"/>
                    <a:gd name="T18" fmla="*/ 6 w 34"/>
                    <a:gd name="T19" fmla="*/ 46 h 46"/>
                    <a:gd name="T20" fmla="*/ 6 w 34"/>
                    <a:gd name="T21" fmla="*/ 46 h 46"/>
                    <a:gd name="T22" fmla="*/ 8 w 34"/>
                    <a:gd name="T23" fmla="*/ 46 h 46"/>
                    <a:gd name="T24" fmla="*/ 8 w 34"/>
                    <a:gd name="T25" fmla="*/ 46 h 46"/>
                    <a:gd name="T26" fmla="*/ 12 w 34"/>
                    <a:gd name="T27" fmla="*/ 44 h 46"/>
                    <a:gd name="T28" fmla="*/ 16 w 34"/>
                    <a:gd name="T29" fmla="*/ 40 h 46"/>
                    <a:gd name="T30" fmla="*/ 16 w 34"/>
                    <a:gd name="T31" fmla="*/ 40 h 46"/>
                    <a:gd name="T32" fmla="*/ 24 w 34"/>
                    <a:gd name="T33" fmla="*/ 20 h 46"/>
                    <a:gd name="T34" fmla="*/ 34 w 34"/>
                    <a:gd name="T35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4" h="46">
                      <a:moveTo>
                        <a:pt x="34" y="0"/>
                      </a:move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6" y="2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2" y="44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2" y="44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24" y="2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4" name="Freeform 2485"/>
                <p:cNvSpPr>
                  <a:spLocks/>
                </p:cNvSpPr>
                <p:nvPr/>
              </p:nvSpPr>
              <p:spPr bwMode="auto">
                <a:xfrm>
                  <a:off x="787400" y="7336011"/>
                  <a:ext cx="53975" cy="73025"/>
                </a:xfrm>
                <a:custGeom>
                  <a:avLst/>
                  <a:gdLst>
                    <a:gd name="T0" fmla="*/ 34 w 34"/>
                    <a:gd name="T1" fmla="*/ 0 h 46"/>
                    <a:gd name="T2" fmla="*/ 14 w 34"/>
                    <a:gd name="T3" fmla="*/ 4 h 46"/>
                    <a:gd name="T4" fmla="*/ 14 w 34"/>
                    <a:gd name="T5" fmla="*/ 4 h 46"/>
                    <a:gd name="T6" fmla="*/ 6 w 34"/>
                    <a:gd name="T7" fmla="*/ 20 h 46"/>
                    <a:gd name="T8" fmla="*/ 0 w 34"/>
                    <a:gd name="T9" fmla="*/ 36 h 46"/>
                    <a:gd name="T10" fmla="*/ 0 w 34"/>
                    <a:gd name="T11" fmla="*/ 36 h 46"/>
                    <a:gd name="T12" fmla="*/ 0 w 34"/>
                    <a:gd name="T13" fmla="*/ 38 h 46"/>
                    <a:gd name="T14" fmla="*/ 0 w 34"/>
                    <a:gd name="T15" fmla="*/ 42 h 46"/>
                    <a:gd name="T16" fmla="*/ 2 w 34"/>
                    <a:gd name="T17" fmla="*/ 44 h 46"/>
                    <a:gd name="T18" fmla="*/ 6 w 34"/>
                    <a:gd name="T19" fmla="*/ 46 h 46"/>
                    <a:gd name="T20" fmla="*/ 6 w 34"/>
                    <a:gd name="T21" fmla="*/ 46 h 46"/>
                    <a:gd name="T22" fmla="*/ 8 w 34"/>
                    <a:gd name="T23" fmla="*/ 46 h 46"/>
                    <a:gd name="T24" fmla="*/ 8 w 34"/>
                    <a:gd name="T25" fmla="*/ 46 h 46"/>
                    <a:gd name="T26" fmla="*/ 12 w 34"/>
                    <a:gd name="T27" fmla="*/ 44 h 46"/>
                    <a:gd name="T28" fmla="*/ 16 w 34"/>
                    <a:gd name="T29" fmla="*/ 40 h 46"/>
                    <a:gd name="T30" fmla="*/ 16 w 34"/>
                    <a:gd name="T31" fmla="*/ 40 h 46"/>
                    <a:gd name="T32" fmla="*/ 24 w 34"/>
                    <a:gd name="T33" fmla="*/ 20 h 46"/>
                    <a:gd name="T34" fmla="*/ 34 w 34"/>
                    <a:gd name="T35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4" h="46">
                      <a:moveTo>
                        <a:pt x="34" y="0"/>
                      </a:move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6" y="2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2" y="44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2" y="44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24" y="20"/>
                      </a:lnTo>
                      <a:lnTo>
                        <a:pt x="3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5" name="Freeform 2486"/>
                <p:cNvSpPr>
                  <a:spLocks/>
                </p:cNvSpPr>
                <p:nvPr/>
              </p:nvSpPr>
              <p:spPr bwMode="auto">
                <a:xfrm>
                  <a:off x="901700" y="7304261"/>
                  <a:ext cx="38100" cy="22225"/>
                </a:xfrm>
                <a:custGeom>
                  <a:avLst/>
                  <a:gdLst>
                    <a:gd name="T0" fmla="*/ 16 w 24"/>
                    <a:gd name="T1" fmla="*/ 0 h 14"/>
                    <a:gd name="T2" fmla="*/ 16 w 24"/>
                    <a:gd name="T3" fmla="*/ 0 h 14"/>
                    <a:gd name="T4" fmla="*/ 12 w 24"/>
                    <a:gd name="T5" fmla="*/ 2 h 14"/>
                    <a:gd name="T6" fmla="*/ 12 w 24"/>
                    <a:gd name="T7" fmla="*/ 2 h 14"/>
                    <a:gd name="T8" fmla="*/ 0 w 24"/>
                    <a:gd name="T9" fmla="*/ 14 h 14"/>
                    <a:gd name="T10" fmla="*/ 24 w 24"/>
                    <a:gd name="T11" fmla="*/ 12 h 14"/>
                    <a:gd name="T12" fmla="*/ 24 w 24"/>
                    <a:gd name="T13" fmla="*/ 12 h 14"/>
                    <a:gd name="T14" fmla="*/ 24 w 24"/>
                    <a:gd name="T15" fmla="*/ 6 h 14"/>
                    <a:gd name="T16" fmla="*/ 22 w 24"/>
                    <a:gd name="T17" fmla="*/ 2 h 14"/>
                    <a:gd name="T18" fmla="*/ 22 w 24"/>
                    <a:gd name="T19" fmla="*/ 2 h 14"/>
                    <a:gd name="T20" fmla="*/ 20 w 24"/>
                    <a:gd name="T21" fmla="*/ 0 h 14"/>
                    <a:gd name="T22" fmla="*/ 16 w 24"/>
                    <a:gd name="T2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14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0" y="14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6" name="Freeform 2487"/>
                <p:cNvSpPr>
                  <a:spLocks/>
                </p:cNvSpPr>
                <p:nvPr/>
              </p:nvSpPr>
              <p:spPr bwMode="auto">
                <a:xfrm>
                  <a:off x="901700" y="7304261"/>
                  <a:ext cx="38100" cy="22225"/>
                </a:xfrm>
                <a:custGeom>
                  <a:avLst/>
                  <a:gdLst>
                    <a:gd name="T0" fmla="*/ 16 w 24"/>
                    <a:gd name="T1" fmla="*/ 0 h 14"/>
                    <a:gd name="T2" fmla="*/ 16 w 24"/>
                    <a:gd name="T3" fmla="*/ 0 h 14"/>
                    <a:gd name="T4" fmla="*/ 12 w 24"/>
                    <a:gd name="T5" fmla="*/ 2 h 14"/>
                    <a:gd name="T6" fmla="*/ 12 w 24"/>
                    <a:gd name="T7" fmla="*/ 2 h 14"/>
                    <a:gd name="T8" fmla="*/ 0 w 24"/>
                    <a:gd name="T9" fmla="*/ 14 h 14"/>
                    <a:gd name="T10" fmla="*/ 24 w 24"/>
                    <a:gd name="T11" fmla="*/ 12 h 14"/>
                    <a:gd name="T12" fmla="*/ 24 w 24"/>
                    <a:gd name="T13" fmla="*/ 12 h 14"/>
                    <a:gd name="T14" fmla="*/ 24 w 24"/>
                    <a:gd name="T15" fmla="*/ 6 h 14"/>
                    <a:gd name="T16" fmla="*/ 22 w 24"/>
                    <a:gd name="T17" fmla="*/ 2 h 14"/>
                    <a:gd name="T18" fmla="*/ 22 w 24"/>
                    <a:gd name="T19" fmla="*/ 2 h 14"/>
                    <a:gd name="T20" fmla="*/ 20 w 24"/>
                    <a:gd name="T21" fmla="*/ 0 h 14"/>
                    <a:gd name="T22" fmla="*/ 16 w 24"/>
                    <a:gd name="T2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14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0" y="14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0" y="0"/>
                      </a:lnTo>
                      <a:lnTo>
                        <a:pt x="1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7" name="Freeform 2488"/>
                <p:cNvSpPr>
                  <a:spLocks/>
                </p:cNvSpPr>
                <p:nvPr/>
              </p:nvSpPr>
              <p:spPr bwMode="auto">
                <a:xfrm>
                  <a:off x="800100" y="7323311"/>
                  <a:ext cx="139700" cy="266700"/>
                </a:xfrm>
                <a:custGeom>
                  <a:avLst/>
                  <a:gdLst>
                    <a:gd name="T0" fmla="*/ 88 w 88"/>
                    <a:gd name="T1" fmla="*/ 0 h 168"/>
                    <a:gd name="T2" fmla="*/ 64 w 88"/>
                    <a:gd name="T3" fmla="*/ 2 h 168"/>
                    <a:gd name="T4" fmla="*/ 64 w 88"/>
                    <a:gd name="T5" fmla="*/ 2 h 168"/>
                    <a:gd name="T6" fmla="*/ 52 w 88"/>
                    <a:gd name="T7" fmla="*/ 18 h 168"/>
                    <a:gd name="T8" fmla="*/ 42 w 88"/>
                    <a:gd name="T9" fmla="*/ 36 h 168"/>
                    <a:gd name="T10" fmla="*/ 34 w 88"/>
                    <a:gd name="T11" fmla="*/ 54 h 168"/>
                    <a:gd name="T12" fmla="*/ 26 w 88"/>
                    <a:gd name="T13" fmla="*/ 72 h 168"/>
                    <a:gd name="T14" fmla="*/ 26 w 88"/>
                    <a:gd name="T15" fmla="*/ 72 h 168"/>
                    <a:gd name="T16" fmla="*/ 10 w 88"/>
                    <a:gd name="T17" fmla="*/ 120 h 168"/>
                    <a:gd name="T18" fmla="*/ 0 w 88"/>
                    <a:gd name="T19" fmla="*/ 158 h 168"/>
                    <a:gd name="T20" fmla="*/ 0 w 88"/>
                    <a:gd name="T21" fmla="*/ 158 h 168"/>
                    <a:gd name="T22" fmla="*/ 0 w 88"/>
                    <a:gd name="T23" fmla="*/ 162 h 168"/>
                    <a:gd name="T24" fmla="*/ 0 w 88"/>
                    <a:gd name="T25" fmla="*/ 164 h 168"/>
                    <a:gd name="T26" fmla="*/ 2 w 88"/>
                    <a:gd name="T27" fmla="*/ 168 h 168"/>
                    <a:gd name="T28" fmla="*/ 6 w 88"/>
                    <a:gd name="T29" fmla="*/ 168 h 168"/>
                    <a:gd name="T30" fmla="*/ 6 w 88"/>
                    <a:gd name="T31" fmla="*/ 168 h 168"/>
                    <a:gd name="T32" fmla="*/ 8 w 88"/>
                    <a:gd name="T33" fmla="*/ 168 h 168"/>
                    <a:gd name="T34" fmla="*/ 8 w 88"/>
                    <a:gd name="T35" fmla="*/ 168 h 168"/>
                    <a:gd name="T36" fmla="*/ 12 w 88"/>
                    <a:gd name="T37" fmla="*/ 166 h 168"/>
                    <a:gd name="T38" fmla="*/ 14 w 88"/>
                    <a:gd name="T39" fmla="*/ 162 h 168"/>
                    <a:gd name="T40" fmla="*/ 14 w 88"/>
                    <a:gd name="T41" fmla="*/ 162 h 168"/>
                    <a:gd name="T42" fmla="*/ 24 w 88"/>
                    <a:gd name="T43" fmla="*/ 124 h 168"/>
                    <a:gd name="T44" fmla="*/ 40 w 88"/>
                    <a:gd name="T45" fmla="*/ 78 h 168"/>
                    <a:gd name="T46" fmla="*/ 40 w 88"/>
                    <a:gd name="T47" fmla="*/ 78 h 168"/>
                    <a:gd name="T48" fmla="*/ 50 w 88"/>
                    <a:gd name="T49" fmla="*/ 56 h 168"/>
                    <a:gd name="T50" fmla="*/ 60 w 88"/>
                    <a:gd name="T51" fmla="*/ 34 h 168"/>
                    <a:gd name="T52" fmla="*/ 72 w 88"/>
                    <a:gd name="T53" fmla="*/ 16 h 168"/>
                    <a:gd name="T54" fmla="*/ 86 w 88"/>
                    <a:gd name="T55" fmla="*/ 2 h 168"/>
                    <a:gd name="T56" fmla="*/ 86 w 88"/>
                    <a:gd name="T57" fmla="*/ 2 h 168"/>
                    <a:gd name="T58" fmla="*/ 88 w 88"/>
                    <a:gd name="T59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8" h="168">
                      <a:moveTo>
                        <a:pt x="88" y="0"/>
                      </a:moveTo>
                      <a:lnTo>
                        <a:pt x="64" y="2"/>
                      </a:lnTo>
                      <a:lnTo>
                        <a:pt x="64" y="2"/>
                      </a:lnTo>
                      <a:lnTo>
                        <a:pt x="52" y="18"/>
                      </a:lnTo>
                      <a:lnTo>
                        <a:pt x="42" y="36"/>
                      </a:lnTo>
                      <a:lnTo>
                        <a:pt x="34" y="54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10" y="120"/>
                      </a:lnTo>
                      <a:lnTo>
                        <a:pt x="0" y="158"/>
                      </a:lnTo>
                      <a:lnTo>
                        <a:pt x="0" y="158"/>
                      </a:lnTo>
                      <a:lnTo>
                        <a:pt x="0" y="162"/>
                      </a:lnTo>
                      <a:lnTo>
                        <a:pt x="0" y="164"/>
                      </a:lnTo>
                      <a:lnTo>
                        <a:pt x="2" y="168"/>
                      </a:lnTo>
                      <a:lnTo>
                        <a:pt x="6" y="168"/>
                      </a:lnTo>
                      <a:lnTo>
                        <a:pt x="6" y="168"/>
                      </a:lnTo>
                      <a:lnTo>
                        <a:pt x="8" y="168"/>
                      </a:lnTo>
                      <a:lnTo>
                        <a:pt x="8" y="168"/>
                      </a:lnTo>
                      <a:lnTo>
                        <a:pt x="12" y="166"/>
                      </a:lnTo>
                      <a:lnTo>
                        <a:pt x="14" y="162"/>
                      </a:lnTo>
                      <a:lnTo>
                        <a:pt x="14" y="162"/>
                      </a:lnTo>
                      <a:lnTo>
                        <a:pt x="24" y="124"/>
                      </a:lnTo>
                      <a:lnTo>
                        <a:pt x="40" y="78"/>
                      </a:lnTo>
                      <a:lnTo>
                        <a:pt x="40" y="78"/>
                      </a:lnTo>
                      <a:lnTo>
                        <a:pt x="50" y="56"/>
                      </a:lnTo>
                      <a:lnTo>
                        <a:pt x="60" y="34"/>
                      </a:lnTo>
                      <a:lnTo>
                        <a:pt x="72" y="16"/>
                      </a:lnTo>
                      <a:lnTo>
                        <a:pt x="86" y="2"/>
                      </a:lnTo>
                      <a:lnTo>
                        <a:pt x="86" y="2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8" name="Freeform 2489"/>
                <p:cNvSpPr>
                  <a:spLocks/>
                </p:cNvSpPr>
                <p:nvPr/>
              </p:nvSpPr>
              <p:spPr bwMode="auto">
                <a:xfrm>
                  <a:off x="800100" y="7323311"/>
                  <a:ext cx="139700" cy="266700"/>
                </a:xfrm>
                <a:custGeom>
                  <a:avLst/>
                  <a:gdLst>
                    <a:gd name="T0" fmla="*/ 88 w 88"/>
                    <a:gd name="T1" fmla="*/ 0 h 168"/>
                    <a:gd name="T2" fmla="*/ 64 w 88"/>
                    <a:gd name="T3" fmla="*/ 2 h 168"/>
                    <a:gd name="T4" fmla="*/ 64 w 88"/>
                    <a:gd name="T5" fmla="*/ 2 h 168"/>
                    <a:gd name="T6" fmla="*/ 52 w 88"/>
                    <a:gd name="T7" fmla="*/ 18 h 168"/>
                    <a:gd name="T8" fmla="*/ 42 w 88"/>
                    <a:gd name="T9" fmla="*/ 36 h 168"/>
                    <a:gd name="T10" fmla="*/ 34 w 88"/>
                    <a:gd name="T11" fmla="*/ 54 h 168"/>
                    <a:gd name="T12" fmla="*/ 26 w 88"/>
                    <a:gd name="T13" fmla="*/ 72 h 168"/>
                    <a:gd name="T14" fmla="*/ 26 w 88"/>
                    <a:gd name="T15" fmla="*/ 72 h 168"/>
                    <a:gd name="T16" fmla="*/ 10 w 88"/>
                    <a:gd name="T17" fmla="*/ 120 h 168"/>
                    <a:gd name="T18" fmla="*/ 0 w 88"/>
                    <a:gd name="T19" fmla="*/ 158 h 168"/>
                    <a:gd name="T20" fmla="*/ 0 w 88"/>
                    <a:gd name="T21" fmla="*/ 158 h 168"/>
                    <a:gd name="T22" fmla="*/ 0 w 88"/>
                    <a:gd name="T23" fmla="*/ 162 h 168"/>
                    <a:gd name="T24" fmla="*/ 0 w 88"/>
                    <a:gd name="T25" fmla="*/ 164 h 168"/>
                    <a:gd name="T26" fmla="*/ 2 w 88"/>
                    <a:gd name="T27" fmla="*/ 168 h 168"/>
                    <a:gd name="T28" fmla="*/ 6 w 88"/>
                    <a:gd name="T29" fmla="*/ 168 h 168"/>
                    <a:gd name="T30" fmla="*/ 6 w 88"/>
                    <a:gd name="T31" fmla="*/ 168 h 168"/>
                    <a:gd name="T32" fmla="*/ 8 w 88"/>
                    <a:gd name="T33" fmla="*/ 168 h 168"/>
                    <a:gd name="T34" fmla="*/ 8 w 88"/>
                    <a:gd name="T35" fmla="*/ 168 h 168"/>
                    <a:gd name="T36" fmla="*/ 12 w 88"/>
                    <a:gd name="T37" fmla="*/ 166 h 168"/>
                    <a:gd name="T38" fmla="*/ 14 w 88"/>
                    <a:gd name="T39" fmla="*/ 162 h 168"/>
                    <a:gd name="T40" fmla="*/ 14 w 88"/>
                    <a:gd name="T41" fmla="*/ 162 h 168"/>
                    <a:gd name="T42" fmla="*/ 24 w 88"/>
                    <a:gd name="T43" fmla="*/ 124 h 168"/>
                    <a:gd name="T44" fmla="*/ 40 w 88"/>
                    <a:gd name="T45" fmla="*/ 78 h 168"/>
                    <a:gd name="T46" fmla="*/ 40 w 88"/>
                    <a:gd name="T47" fmla="*/ 78 h 168"/>
                    <a:gd name="T48" fmla="*/ 50 w 88"/>
                    <a:gd name="T49" fmla="*/ 56 h 168"/>
                    <a:gd name="T50" fmla="*/ 60 w 88"/>
                    <a:gd name="T51" fmla="*/ 34 h 168"/>
                    <a:gd name="T52" fmla="*/ 72 w 88"/>
                    <a:gd name="T53" fmla="*/ 16 h 168"/>
                    <a:gd name="T54" fmla="*/ 86 w 88"/>
                    <a:gd name="T55" fmla="*/ 2 h 168"/>
                    <a:gd name="T56" fmla="*/ 86 w 88"/>
                    <a:gd name="T57" fmla="*/ 2 h 168"/>
                    <a:gd name="T58" fmla="*/ 88 w 88"/>
                    <a:gd name="T59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8" h="168">
                      <a:moveTo>
                        <a:pt x="88" y="0"/>
                      </a:moveTo>
                      <a:lnTo>
                        <a:pt x="64" y="2"/>
                      </a:lnTo>
                      <a:lnTo>
                        <a:pt x="64" y="2"/>
                      </a:lnTo>
                      <a:lnTo>
                        <a:pt x="52" y="18"/>
                      </a:lnTo>
                      <a:lnTo>
                        <a:pt x="42" y="36"/>
                      </a:lnTo>
                      <a:lnTo>
                        <a:pt x="34" y="54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10" y="120"/>
                      </a:lnTo>
                      <a:lnTo>
                        <a:pt x="0" y="158"/>
                      </a:lnTo>
                      <a:lnTo>
                        <a:pt x="0" y="158"/>
                      </a:lnTo>
                      <a:lnTo>
                        <a:pt x="0" y="162"/>
                      </a:lnTo>
                      <a:lnTo>
                        <a:pt x="0" y="164"/>
                      </a:lnTo>
                      <a:lnTo>
                        <a:pt x="2" y="168"/>
                      </a:lnTo>
                      <a:lnTo>
                        <a:pt x="6" y="168"/>
                      </a:lnTo>
                      <a:lnTo>
                        <a:pt x="6" y="168"/>
                      </a:lnTo>
                      <a:lnTo>
                        <a:pt x="8" y="168"/>
                      </a:lnTo>
                      <a:lnTo>
                        <a:pt x="8" y="168"/>
                      </a:lnTo>
                      <a:lnTo>
                        <a:pt x="12" y="166"/>
                      </a:lnTo>
                      <a:lnTo>
                        <a:pt x="14" y="162"/>
                      </a:lnTo>
                      <a:lnTo>
                        <a:pt x="14" y="162"/>
                      </a:lnTo>
                      <a:lnTo>
                        <a:pt x="24" y="124"/>
                      </a:lnTo>
                      <a:lnTo>
                        <a:pt x="40" y="78"/>
                      </a:lnTo>
                      <a:lnTo>
                        <a:pt x="40" y="78"/>
                      </a:lnTo>
                      <a:lnTo>
                        <a:pt x="50" y="56"/>
                      </a:lnTo>
                      <a:lnTo>
                        <a:pt x="60" y="34"/>
                      </a:lnTo>
                      <a:lnTo>
                        <a:pt x="72" y="16"/>
                      </a:lnTo>
                      <a:lnTo>
                        <a:pt x="86" y="2"/>
                      </a:lnTo>
                      <a:lnTo>
                        <a:pt x="86" y="2"/>
                      </a:lnTo>
                      <a:lnTo>
                        <a:pt x="8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41" name="Freeform 2029"/>
              <p:cNvSpPr>
                <a:spLocks/>
              </p:cNvSpPr>
              <p:nvPr/>
            </p:nvSpPr>
            <p:spPr bwMode="auto">
              <a:xfrm>
                <a:off x="10304051" y="7966617"/>
                <a:ext cx="707961" cy="265974"/>
              </a:xfrm>
              <a:custGeom>
                <a:avLst/>
                <a:gdLst/>
                <a:ahLst/>
                <a:cxnLst/>
                <a:rect l="l" t="t" r="r" b="b"/>
                <a:pathLst>
                  <a:path w="1149350" h="431800">
                    <a:moveTo>
                      <a:pt x="432993" y="10160"/>
                    </a:moveTo>
                    <a:lnTo>
                      <a:pt x="574675" y="339726"/>
                    </a:lnTo>
                    <a:lnTo>
                      <a:pt x="714382" y="14756"/>
                    </a:lnTo>
                    <a:lnTo>
                      <a:pt x="746125" y="22225"/>
                    </a:lnTo>
                    <a:lnTo>
                      <a:pt x="800100" y="41275"/>
                    </a:lnTo>
                    <a:lnTo>
                      <a:pt x="850900" y="60325"/>
                    </a:lnTo>
                    <a:lnTo>
                      <a:pt x="895350" y="85725"/>
                    </a:lnTo>
                    <a:lnTo>
                      <a:pt x="939800" y="114300"/>
                    </a:lnTo>
                    <a:lnTo>
                      <a:pt x="981075" y="142875"/>
                    </a:lnTo>
                    <a:lnTo>
                      <a:pt x="1019175" y="177800"/>
                    </a:lnTo>
                    <a:lnTo>
                      <a:pt x="1050925" y="212725"/>
                    </a:lnTo>
                    <a:lnTo>
                      <a:pt x="1082675" y="247650"/>
                    </a:lnTo>
                    <a:lnTo>
                      <a:pt x="1104900" y="285750"/>
                    </a:lnTo>
                    <a:lnTo>
                      <a:pt x="1123950" y="320675"/>
                    </a:lnTo>
                    <a:lnTo>
                      <a:pt x="1139825" y="358775"/>
                    </a:lnTo>
                    <a:lnTo>
                      <a:pt x="1149350" y="396875"/>
                    </a:lnTo>
                    <a:lnTo>
                      <a:pt x="1149350" y="431800"/>
                    </a:lnTo>
                    <a:lnTo>
                      <a:pt x="0" y="431800"/>
                    </a:lnTo>
                    <a:lnTo>
                      <a:pt x="3175" y="396875"/>
                    </a:lnTo>
                    <a:lnTo>
                      <a:pt x="9525" y="358775"/>
                    </a:lnTo>
                    <a:lnTo>
                      <a:pt x="25400" y="320675"/>
                    </a:lnTo>
                    <a:lnTo>
                      <a:pt x="44450" y="285750"/>
                    </a:lnTo>
                    <a:lnTo>
                      <a:pt x="69850" y="247650"/>
                    </a:lnTo>
                    <a:lnTo>
                      <a:pt x="98425" y="212725"/>
                    </a:lnTo>
                    <a:lnTo>
                      <a:pt x="130175" y="177800"/>
                    </a:lnTo>
                    <a:lnTo>
                      <a:pt x="168275" y="142875"/>
                    </a:lnTo>
                    <a:lnTo>
                      <a:pt x="209550" y="114300"/>
                    </a:lnTo>
                    <a:lnTo>
                      <a:pt x="254000" y="85725"/>
                    </a:lnTo>
                    <a:lnTo>
                      <a:pt x="301625" y="60325"/>
                    </a:lnTo>
                    <a:lnTo>
                      <a:pt x="349250" y="41275"/>
                    </a:lnTo>
                    <a:lnTo>
                      <a:pt x="403225" y="22225"/>
                    </a:lnTo>
                    <a:lnTo>
                      <a:pt x="435131" y="15135"/>
                    </a:lnTo>
                    <a:close/>
                    <a:moveTo>
                      <a:pt x="720725" y="1"/>
                    </a:moveTo>
                    <a:lnTo>
                      <a:pt x="720725" y="1"/>
                    </a:lnTo>
                    <a:lnTo>
                      <a:pt x="714382" y="14756"/>
                    </a:lnTo>
                    <a:lnTo>
                      <a:pt x="714381" y="14756"/>
                    </a:lnTo>
                    <a:close/>
                    <a:moveTo>
                      <a:pt x="428625" y="1"/>
                    </a:moveTo>
                    <a:lnTo>
                      <a:pt x="428625" y="1"/>
                    </a:lnTo>
                    <a:lnTo>
                      <a:pt x="432993" y="10160"/>
                    </a:lnTo>
                    <a:close/>
                    <a:moveTo>
                      <a:pt x="428625" y="0"/>
                    </a:moveTo>
                    <a:lnTo>
                      <a:pt x="574675" y="0"/>
                    </a:lnTo>
                    <a:lnTo>
                      <a:pt x="720725" y="0"/>
                    </a:lnTo>
                    <a:lnTo>
                      <a:pt x="720725" y="1"/>
                    </a:lnTo>
                    <a:lnTo>
                      <a:pt x="428625" y="1"/>
                    </a:lnTo>
                    <a:close/>
                  </a:path>
                </a:pathLst>
              </a:custGeom>
              <a:solidFill>
                <a:srgbClr val="7AD5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400857"/>
                <a:endParaRPr lang="en-AU" sz="135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37" name="Rectangle 336"/>
            <p:cNvSpPr/>
            <p:nvPr/>
          </p:nvSpPr>
          <p:spPr>
            <a:xfrm>
              <a:off x="1041025" y="2644000"/>
              <a:ext cx="223052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00857"/>
              <a:endParaRPr lang="en-AU" sz="1351" dirty="0">
                <a:solidFill>
                  <a:prstClr val="white"/>
                </a:solidFill>
              </a:endParaRPr>
            </a:p>
          </p:txBody>
        </p:sp>
        <p:sp>
          <p:nvSpPr>
            <p:cNvPr id="338" name="Freeform 2030"/>
            <p:cNvSpPr>
              <a:spLocks/>
            </p:cNvSpPr>
            <p:nvPr/>
          </p:nvSpPr>
          <p:spPr bwMode="auto">
            <a:xfrm>
              <a:off x="1144757" y="2354578"/>
              <a:ext cx="129586" cy="194379"/>
            </a:xfrm>
            <a:custGeom>
              <a:avLst/>
              <a:gdLst>
                <a:gd name="T0" fmla="*/ 100 w 100"/>
                <a:gd name="T1" fmla="*/ 122 h 150"/>
                <a:gd name="T2" fmla="*/ 0 w 100"/>
                <a:gd name="T3" fmla="*/ 150 h 150"/>
                <a:gd name="T4" fmla="*/ 20 w 100"/>
                <a:gd name="T5" fmla="*/ 6 h 150"/>
                <a:gd name="T6" fmla="*/ 50 w 100"/>
                <a:gd name="T7" fmla="*/ 0 h 150"/>
                <a:gd name="T8" fmla="*/ 100 w 100"/>
                <a:gd name="T9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50">
                  <a:moveTo>
                    <a:pt x="100" y="122"/>
                  </a:moveTo>
                  <a:lnTo>
                    <a:pt x="0" y="150"/>
                  </a:lnTo>
                  <a:lnTo>
                    <a:pt x="20" y="6"/>
                  </a:lnTo>
                  <a:lnTo>
                    <a:pt x="50" y="0"/>
                  </a:lnTo>
                  <a:lnTo>
                    <a:pt x="100" y="1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644" tIns="34322" rIns="68644" bIns="34322" numCol="1" anchor="t" anchorCtr="0" compatLnSpc="1">
              <a:prstTxWarp prst="textNoShape">
                <a:avLst/>
              </a:prstTxWarp>
            </a:bodyPr>
            <a:lstStyle/>
            <a:p>
              <a:pPr defTabSz="400857"/>
              <a:endParaRPr lang="en-AU" sz="1351" dirty="0">
                <a:solidFill>
                  <a:prstClr val="black"/>
                </a:solidFill>
              </a:endParaRPr>
            </a:p>
          </p:txBody>
        </p:sp>
        <p:sp>
          <p:nvSpPr>
            <p:cNvPr id="339" name="Freeform 2031"/>
            <p:cNvSpPr>
              <a:spLocks/>
            </p:cNvSpPr>
            <p:nvPr/>
          </p:nvSpPr>
          <p:spPr bwMode="auto">
            <a:xfrm>
              <a:off x="1365702" y="2354578"/>
              <a:ext cx="129586" cy="194379"/>
            </a:xfrm>
            <a:custGeom>
              <a:avLst/>
              <a:gdLst>
                <a:gd name="T0" fmla="*/ 0 w 100"/>
                <a:gd name="T1" fmla="*/ 122 h 150"/>
                <a:gd name="T2" fmla="*/ 100 w 100"/>
                <a:gd name="T3" fmla="*/ 150 h 150"/>
                <a:gd name="T4" fmla="*/ 80 w 100"/>
                <a:gd name="T5" fmla="*/ 6 h 150"/>
                <a:gd name="T6" fmla="*/ 52 w 100"/>
                <a:gd name="T7" fmla="*/ 0 h 150"/>
                <a:gd name="T8" fmla="*/ 0 w 100"/>
                <a:gd name="T9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50">
                  <a:moveTo>
                    <a:pt x="0" y="122"/>
                  </a:moveTo>
                  <a:lnTo>
                    <a:pt x="100" y="150"/>
                  </a:lnTo>
                  <a:lnTo>
                    <a:pt x="80" y="6"/>
                  </a:lnTo>
                  <a:lnTo>
                    <a:pt x="52" y="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644" tIns="34322" rIns="68644" bIns="34322" numCol="1" anchor="t" anchorCtr="0" compatLnSpc="1">
              <a:prstTxWarp prst="textNoShape">
                <a:avLst/>
              </a:prstTxWarp>
            </a:bodyPr>
            <a:lstStyle/>
            <a:p>
              <a:pPr defTabSz="400857"/>
              <a:endParaRPr lang="en-AU" sz="1351" dirty="0">
                <a:solidFill>
                  <a:prstClr val="black"/>
                </a:solidFill>
              </a:endParaRPr>
            </a:p>
          </p:txBody>
        </p:sp>
      </p:grpSp>
      <p:sp>
        <p:nvSpPr>
          <p:cNvPr id="399" name="TextBox 398"/>
          <p:cNvSpPr txBox="1"/>
          <p:nvPr/>
        </p:nvSpPr>
        <p:spPr>
          <a:xfrm>
            <a:off x="485162" y="4101112"/>
            <a:ext cx="954710" cy="438866"/>
          </a:xfrm>
          <a:prstGeom prst="rect">
            <a:avLst/>
          </a:prstGeom>
          <a:noFill/>
        </p:spPr>
        <p:txBody>
          <a:bodyPr wrap="square" lIns="68606" tIns="34304" rIns="68606" bIns="34304" rtlCol="0">
            <a:spAutoFit/>
          </a:bodyPr>
          <a:lstStyle/>
          <a:p>
            <a:pPr algn="ctr" defTabSz="400857"/>
            <a:r>
              <a:rPr lang="en-AU" sz="900" b="1" dirty="0">
                <a:solidFill>
                  <a:schemeClr val="bg1"/>
                </a:solidFill>
              </a:rPr>
              <a:t>Joe</a:t>
            </a:r>
          </a:p>
          <a:p>
            <a:pPr algn="ctr" defTabSz="400857"/>
            <a:r>
              <a:rPr lang="en-AU" sz="751" dirty="0">
                <a:solidFill>
                  <a:schemeClr val="bg1"/>
                </a:solidFill>
              </a:rPr>
              <a:t>Authorised Administrator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7FB0CFC5-8435-46CA-B122-0542E1B206AA}"/>
              </a:ext>
            </a:extLst>
          </p:cNvPr>
          <p:cNvSpPr/>
          <p:nvPr/>
        </p:nvSpPr>
        <p:spPr>
          <a:xfrm>
            <a:off x="2169628" y="1977193"/>
            <a:ext cx="1294519" cy="826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Log in to RAM using myGovID 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  <a:p>
            <a:pPr algn="ctr"/>
            <a:r>
              <a:rPr lang="en-AU" sz="800" dirty="0">
                <a:solidFill>
                  <a:srgbClr val="50535A"/>
                </a:solidFill>
              </a:rPr>
              <a:t>Select Manage Authorisations and then select the Provider’s ABN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618DA5EB-348F-4C90-95BC-03DE97479238}"/>
              </a:ext>
            </a:extLst>
          </p:cNvPr>
          <p:cNvSpPr/>
          <p:nvPr/>
        </p:nvSpPr>
        <p:spPr>
          <a:xfrm>
            <a:off x="4257634" y="1952142"/>
            <a:ext cx="1363199" cy="782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Add Joe as Authorised Administrator by entering his full legal name and email address  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DE43B09C-643D-4E03-95EA-F39623AEADC9}"/>
              </a:ext>
            </a:extLst>
          </p:cNvPr>
          <p:cNvSpPr/>
          <p:nvPr/>
        </p:nvSpPr>
        <p:spPr>
          <a:xfrm>
            <a:off x="6408673" y="1952929"/>
            <a:ext cx="1261927" cy="782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Enter Access Duration and ‘Yes’ to Authorised Administrator.</a:t>
            </a:r>
          </a:p>
          <a:p>
            <a:pPr algn="ctr"/>
            <a:r>
              <a:rPr lang="en-AU" sz="800" dirty="0">
                <a:solidFill>
                  <a:srgbClr val="50535A"/>
                </a:solidFill>
              </a:rPr>
              <a:t>Review and submit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6EE737FA-7878-4FF8-935B-BCD5DA2E02FD}"/>
              </a:ext>
            </a:extLst>
          </p:cNvPr>
          <p:cNvSpPr/>
          <p:nvPr/>
        </p:nvSpPr>
        <p:spPr>
          <a:xfrm>
            <a:off x="2107487" y="4361205"/>
            <a:ext cx="1624888" cy="565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Setup myGovID by entering personal details and prove identity up to ‘Standard’ strength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776003D6-5BAD-4BB5-9FB3-BAB42BA8A5A9}"/>
              </a:ext>
            </a:extLst>
          </p:cNvPr>
          <p:cNvSpPr/>
          <p:nvPr/>
        </p:nvSpPr>
        <p:spPr>
          <a:xfrm>
            <a:off x="4895785" y="4394968"/>
            <a:ext cx="1430049" cy="5889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Go to RAM and accept the Authorisation sent by Toni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F4DC54A-D85F-CF4A-B33E-AE960D2916E6}"/>
              </a:ext>
            </a:extLst>
          </p:cNvPr>
          <p:cNvCxnSpPr/>
          <p:nvPr/>
        </p:nvCxnSpPr>
        <p:spPr>
          <a:xfrm>
            <a:off x="3877056" y="1030553"/>
            <a:ext cx="0" cy="167975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6" name="Straight Connector 405">
            <a:extLst>
              <a:ext uri="{FF2B5EF4-FFF2-40B4-BE49-F238E27FC236}">
                <a16:creationId xmlns:a16="http://schemas.microsoft.com/office/drawing/2014/main" id="{195523BD-3908-3143-B301-215FA122145C}"/>
              </a:ext>
            </a:extLst>
          </p:cNvPr>
          <p:cNvCxnSpPr/>
          <p:nvPr/>
        </p:nvCxnSpPr>
        <p:spPr>
          <a:xfrm>
            <a:off x="6044184" y="1030553"/>
            <a:ext cx="0" cy="167975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43D99DAF-96FB-934E-8353-D16DA0FB7A9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050" y="1152428"/>
            <a:ext cx="861317" cy="526742"/>
          </a:xfrm>
          <a:prstGeom prst="rect">
            <a:avLst/>
          </a:prstGeom>
        </p:spPr>
      </p:pic>
      <p:sp>
        <p:nvSpPr>
          <p:cNvPr id="400" name="Oval 399">
            <a:extLst>
              <a:ext uri="{FF2B5EF4-FFF2-40B4-BE49-F238E27FC236}">
                <a16:creationId xmlns:a16="http://schemas.microsoft.com/office/drawing/2014/main" id="{7B84F307-72DB-164E-ADC0-ADF477139F48}"/>
              </a:ext>
            </a:extLst>
          </p:cNvPr>
          <p:cNvSpPr/>
          <p:nvPr/>
        </p:nvSpPr>
        <p:spPr>
          <a:xfrm>
            <a:off x="1856191" y="965056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287DB2"/>
                </a:solidFill>
              </a:rPr>
              <a:t>1</a:t>
            </a:r>
          </a:p>
        </p:txBody>
      </p:sp>
      <p:sp>
        <p:nvSpPr>
          <p:cNvPr id="401" name="Oval 400">
            <a:extLst>
              <a:ext uri="{FF2B5EF4-FFF2-40B4-BE49-F238E27FC236}">
                <a16:creationId xmlns:a16="http://schemas.microsoft.com/office/drawing/2014/main" id="{81935882-05A5-2443-9EB4-8BA5909D7F5D}"/>
              </a:ext>
            </a:extLst>
          </p:cNvPr>
          <p:cNvSpPr/>
          <p:nvPr/>
        </p:nvSpPr>
        <p:spPr>
          <a:xfrm>
            <a:off x="3971082" y="965056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287DB2"/>
                </a:solidFill>
              </a:rPr>
              <a:t>2</a:t>
            </a:r>
          </a:p>
        </p:txBody>
      </p:sp>
      <p:sp>
        <p:nvSpPr>
          <p:cNvPr id="405" name="Oval 404">
            <a:extLst>
              <a:ext uri="{FF2B5EF4-FFF2-40B4-BE49-F238E27FC236}">
                <a16:creationId xmlns:a16="http://schemas.microsoft.com/office/drawing/2014/main" id="{C498401F-F9E5-4144-9C53-6BD72B6E5471}"/>
              </a:ext>
            </a:extLst>
          </p:cNvPr>
          <p:cNvSpPr/>
          <p:nvPr/>
        </p:nvSpPr>
        <p:spPr>
          <a:xfrm>
            <a:off x="6141840" y="965056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287DB2"/>
                </a:solidFill>
              </a:rPr>
              <a:t>3</a:t>
            </a:r>
          </a:p>
        </p:txBody>
      </p:sp>
      <p:sp>
        <p:nvSpPr>
          <p:cNvPr id="144" name="Oval 143"/>
          <p:cNvSpPr/>
          <p:nvPr/>
        </p:nvSpPr>
        <p:spPr>
          <a:xfrm>
            <a:off x="3083970" y="1030553"/>
            <a:ext cx="472283" cy="461718"/>
          </a:xfrm>
          <a:prstGeom prst="ellipse">
            <a:avLst/>
          </a:prstGeom>
          <a:solidFill>
            <a:srgbClr val="287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1 min</a:t>
            </a:r>
          </a:p>
        </p:txBody>
      </p:sp>
      <p:sp>
        <p:nvSpPr>
          <p:cNvPr id="410" name="Oval 409">
            <a:extLst>
              <a:ext uri="{FF2B5EF4-FFF2-40B4-BE49-F238E27FC236}">
                <a16:creationId xmlns:a16="http://schemas.microsoft.com/office/drawing/2014/main" id="{8FE85A92-5391-DA48-B0F1-992547C551B5}"/>
              </a:ext>
            </a:extLst>
          </p:cNvPr>
          <p:cNvSpPr/>
          <p:nvPr/>
        </p:nvSpPr>
        <p:spPr>
          <a:xfrm>
            <a:off x="1856191" y="3083369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A2B427"/>
                </a:solidFill>
              </a:rPr>
              <a:t>1</a:t>
            </a:r>
          </a:p>
        </p:txBody>
      </p:sp>
      <p:sp>
        <p:nvSpPr>
          <p:cNvPr id="413" name="Oval 412">
            <a:extLst>
              <a:ext uri="{FF2B5EF4-FFF2-40B4-BE49-F238E27FC236}">
                <a16:creationId xmlns:a16="http://schemas.microsoft.com/office/drawing/2014/main" id="{329C752D-95C0-F441-BD0A-12ACA3D37687}"/>
              </a:ext>
            </a:extLst>
          </p:cNvPr>
          <p:cNvSpPr/>
          <p:nvPr/>
        </p:nvSpPr>
        <p:spPr>
          <a:xfrm>
            <a:off x="4413745" y="3083369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A2B427"/>
                </a:solidFill>
              </a:rPr>
              <a:t>2</a:t>
            </a:r>
          </a:p>
        </p:txBody>
      </p:sp>
      <p:sp>
        <p:nvSpPr>
          <p:cNvPr id="414" name="Oval 413">
            <a:extLst>
              <a:ext uri="{FF2B5EF4-FFF2-40B4-BE49-F238E27FC236}">
                <a16:creationId xmlns:a16="http://schemas.microsoft.com/office/drawing/2014/main" id="{75B5DD15-7A16-1640-8C50-981A053B5B82}"/>
              </a:ext>
            </a:extLst>
          </p:cNvPr>
          <p:cNvSpPr/>
          <p:nvPr/>
        </p:nvSpPr>
        <p:spPr>
          <a:xfrm>
            <a:off x="5152921" y="1030553"/>
            <a:ext cx="472283" cy="461718"/>
          </a:xfrm>
          <a:prstGeom prst="ellipse">
            <a:avLst/>
          </a:prstGeom>
          <a:solidFill>
            <a:srgbClr val="287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1 min</a:t>
            </a:r>
          </a:p>
        </p:txBody>
      </p:sp>
      <p:pic>
        <p:nvPicPr>
          <p:cNvPr id="416" name="Picture 415" descr="Icon&#10;&#10;Description automatically generated">
            <a:extLst>
              <a:ext uri="{FF2B5EF4-FFF2-40B4-BE49-F238E27FC236}">
                <a16:creationId xmlns:a16="http://schemas.microsoft.com/office/drawing/2014/main" id="{A0CAEC99-3998-F246-AD04-DD0DE27EA3D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876" y="1143758"/>
            <a:ext cx="532038" cy="532038"/>
          </a:xfrm>
          <a:prstGeom prst="rect">
            <a:avLst/>
          </a:prstGeom>
        </p:spPr>
      </p:pic>
      <p:sp>
        <p:nvSpPr>
          <p:cNvPr id="415" name="Oval 414">
            <a:extLst>
              <a:ext uri="{FF2B5EF4-FFF2-40B4-BE49-F238E27FC236}">
                <a16:creationId xmlns:a16="http://schemas.microsoft.com/office/drawing/2014/main" id="{E7556494-1548-6143-ADD5-5A9819171F7F}"/>
              </a:ext>
            </a:extLst>
          </p:cNvPr>
          <p:cNvSpPr/>
          <p:nvPr/>
        </p:nvSpPr>
        <p:spPr>
          <a:xfrm>
            <a:off x="7154640" y="1030553"/>
            <a:ext cx="472283" cy="461718"/>
          </a:xfrm>
          <a:prstGeom prst="ellipse">
            <a:avLst/>
          </a:prstGeom>
          <a:solidFill>
            <a:srgbClr val="287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1 min</a:t>
            </a:r>
          </a:p>
        </p:txBody>
      </p:sp>
      <p:sp>
        <p:nvSpPr>
          <p:cNvPr id="417" name="Oval 416">
            <a:extLst>
              <a:ext uri="{FF2B5EF4-FFF2-40B4-BE49-F238E27FC236}">
                <a16:creationId xmlns:a16="http://schemas.microsoft.com/office/drawing/2014/main" id="{CE22F7C3-3441-AE4C-80F7-5F65168B812A}"/>
              </a:ext>
            </a:extLst>
          </p:cNvPr>
          <p:cNvSpPr/>
          <p:nvPr/>
        </p:nvSpPr>
        <p:spPr>
          <a:xfrm>
            <a:off x="3001697" y="3505438"/>
            <a:ext cx="472283" cy="461718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5 mins</a:t>
            </a:r>
          </a:p>
        </p:txBody>
      </p:sp>
      <p:sp>
        <p:nvSpPr>
          <p:cNvPr id="418" name="Oval 417">
            <a:extLst>
              <a:ext uri="{FF2B5EF4-FFF2-40B4-BE49-F238E27FC236}">
                <a16:creationId xmlns:a16="http://schemas.microsoft.com/office/drawing/2014/main" id="{2CFABA09-5364-BB45-859D-BA7ADBED1D35}"/>
              </a:ext>
            </a:extLst>
          </p:cNvPr>
          <p:cNvSpPr/>
          <p:nvPr/>
        </p:nvSpPr>
        <p:spPr>
          <a:xfrm>
            <a:off x="6006472" y="3514873"/>
            <a:ext cx="472283" cy="461718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2 mins</a:t>
            </a:r>
          </a:p>
        </p:txBody>
      </p:sp>
      <p:sp>
        <p:nvSpPr>
          <p:cNvPr id="419" name="Title 1">
            <a:extLst>
              <a:ext uri="{FF2B5EF4-FFF2-40B4-BE49-F238E27FC236}">
                <a16:creationId xmlns:a16="http://schemas.microsoft.com/office/drawing/2014/main" id="{3F6F3CA2-D730-774F-B667-F60D06715BE6}"/>
              </a:ext>
            </a:extLst>
          </p:cNvPr>
          <p:cNvSpPr txBox="1">
            <a:spLocks/>
          </p:cNvSpPr>
          <p:nvPr/>
        </p:nvSpPr>
        <p:spPr>
          <a:xfrm>
            <a:off x="185068" y="279970"/>
            <a:ext cx="7670739" cy="461665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sz="2400" b="1" dirty="0" err="1">
                <a:solidFill>
                  <a:srgbClr val="002D3F"/>
                </a:solidFill>
                <a:latin typeface="Arial Nova" panose="020B0504020202020204" pitchFamily="34" charset="0"/>
              </a:rPr>
              <a:t>myGovID</a:t>
            </a: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 &amp; RAM: Set up an Administrator</a:t>
            </a:r>
          </a:p>
        </p:txBody>
      </p:sp>
      <p:grpSp>
        <p:nvGrpSpPr>
          <p:cNvPr id="206" name="Group 205"/>
          <p:cNvGrpSpPr/>
          <p:nvPr/>
        </p:nvGrpSpPr>
        <p:grpSpPr>
          <a:xfrm>
            <a:off x="723445" y="3421930"/>
            <a:ext cx="499439" cy="697444"/>
            <a:chOff x="-2096144" y="480120"/>
            <a:chExt cx="915825" cy="1503240"/>
          </a:xfrm>
        </p:grpSpPr>
        <p:grpSp>
          <p:nvGrpSpPr>
            <p:cNvPr id="207" name="Group 206"/>
            <p:cNvGrpSpPr/>
            <p:nvPr/>
          </p:nvGrpSpPr>
          <p:grpSpPr>
            <a:xfrm>
              <a:off x="-2096144" y="480120"/>
              <a:ext cx="915825" cy="1466649"/>
              <a:chOff x="11045826" y="651694"/>
              <a:chExt cx="1314450" cy="2105026"/>
            </a:xfrm>
          </p:grpSpPr>
          <p:sp>
            <p:nvSpPr>
              <p:cNvPr id="256" name="Rectangle 255"/>
              <p:cNvSpPr/>
              <p:nvPr/>
            </p:nvSpPr>
            <p:spPr>
              <a:xfrm>
                <a:off x="11564939" y="2324920"/>
                <a:ext cx="271463" cy="431800"/>
              </a:xfrm>
              <a:prstGeom prst="rect">
                <a:avLst/>
              </a:pr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1942"/>
              <p:cNvSpPr>
                <a:spLocks/>
              </p:cNvSpPr>
              <p:nvPr/>
            </p:nvSpPr>
            <p:spPr bwMode="auto">
              <a:xfrm>
                <a:off x="11560176" y="2324919"/>
                <a:ext cx="288925" cy="184150"/>
              </a:xfrm>
              <a:custGeom>
                <a:avLst/>
                <a:gdLst>
                  <a:gd name="T0" fmla="*/ 90 w 182"/>
                  <a:gd name="T1" fmla="*/ 116 h 116"/>
                  <a:gd name="T2" fmla="*/ 0 w 182"/>
                  <a:gd name="T3" fmla="*/ 0 h 116"/>
                  <a:gd name="T4" fmla="*/ 182 w 182"/>
                  <a:gd name="T5" fmla="*/ 0 h 116"/>
                  <a:gd name="T6" fmla="*/ 90 w 182"/>
                  <a:gd name="T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" h="116">
                    <a:moveTo>
                      <a:pt x="90" y="116"/>
                    </a:moveTo>
                    <a:lnTo>
                      <a:pt x="0" y="0"/>
                    </a:lnTo>
                    <a:lnTo>
                      <a:pt x="182" y="0"/>
                    </a:lnTo>
                    <a:lnTo>
                      <a:pt x="90" y="11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1944"/>
              <p:cNvSpPr>
                <a:spLocks/>
              </p:cNvSpPr>
              <p:nvPr/>
            </p:nvSpPr>
            <p:spPr bwMode="auto">
              <a:xfrm>
                <a:off x="11487151" y="2337619"/>
                <a:ext cx="158750" cy="190500"/>
              </a:xfrm>
              <a:custGeom>
                <a:avLst/>
                <a:gdLst>
                  <a:gd name="T0" fmla="*/ 100 w 100"/>
                  <a:gd name="T1" fmla="*/ 62 h 120"/>
                  <a:gd name="T2" fmla="*/ 0 w 100"/>
                  <a:gd name="T3" fmla="*/ 120 h 120"/>
                  <a:gd name="T4" fmla="*/ 20 w 100"/>
                  <a:gd name="T5" fmla="*/ 6 h 120"/>
                  <a:gd name="T6" fmla="*/ 50 w 100"/>
                  <a:gd name="T7" fmla="*/ 0 h 120"/>
                  <a:gd name="T8" fmla="*/ 10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100" y="62"/>
                    </a:moveTo>
                    <a:lnTo>
                      <a:pt x="0" y="120"/>
                    </a:lnTo>
                    <a:lnTo>
                      <a:pt x="20" y="6"/>
                    </a:lnTo>
                    <a:lnTo>
                      <a:pt x="50" y="0"/>
                    </a:lnTo>
                    <a:lnTo>
                      <a:pt x="10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1946"/>
              <p:cNvSpPr>
                <a:spLocks/>
              </p:cNvSpPr>
              <p:nvPr/>
            </p:nvSpPr>
            <p:spPr bwMode="auto">
              <a:xfrm>
                <a:off x="11760201" y="2337619"/>
                <a:ext cx="158750" cy="190500"/>
              </a:xfrm>
              <a:custGeom>
                <a:avLst/>
                <a:gdLst>
                  <a:gd name="T0" fmla="*/ 0 w 100"/>
                  <a:gd name="T1" fmla="*/ 62 h 120"/>
                  <a:gd name="T2" fmla="*/ 100 w 100"/>
                  <a:gd name="T3" fmla="*/ 120 h 120"/>
                  <a:gd name="T4" fmla="*/ 80 w 100"/>
                  <a:gd name="T5" fmla="*/ 6 h 120"/>
                  <a:gd name="T6" fmla="*/ 52 w 100"/>
                  <a:gd name="T7" fmla="*/ 0 h 120"/>
                  <a:gd name="T8" fmla="*/ 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0" y="62"/>
                    </a:moveTo>
                    <a:lnTo>
                      <a:pt x="100" y="120"/>
                    </a:lnTo>
                    <a:lnTo>
                      <a:pt x="80" y="6"/>
                    </a:lnTo>
                    <a:lnTo>
                      <a:pt x="52" y="0"/>
                    </a:lnTo>
                    <a:lnTo>
                      <a:pt x="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1947"/>
              <p:cNvSpPr>
                <a:spLocks/>
              </p:cNvSpPr>
              <p:nvPr/>
            </p:nvSpPr>
            <p:spPr bwMode="auto">
              <a:xfrm>
                <a:off x="1213167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6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6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6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6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  <a:close/>
                  </a:path>
                </a:pathLst>
              </a:cu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1948"/>
              <p:cNvSpPr>
                <a:spLocks/>
              </p:cNvSpPr>
              <p:nvPr/>
            </p:nvSpPr>
            <p:spPr bwMode="auto">
              <a:xfrm>
                <a:off x="1213167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6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6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6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6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1949"/>
              <p:cNvSpPr>
                <a:spLocks/>
              </p:cNvSpPr>
              <p:nvPr/>
            </p:nvSpPr>
            <p:spPr bwMode="auto">
              <a:xfrm>
                <a:off x="12249151" y="1785169"/>
                <a:ext cx="63500" cy="44450"/>
              </a:xfrm>
              <a:custGeom>
                <a:avLst/>
                <a:gdLst>
                  <a:gd name="T0" fmla="*/ 32 w 40"/>
                  <a:gd name="T1" fmla="*/ 0 h 28"/>
                  <a:gd name="T2" fmla="*/ 32 w 40"/>
                  <a:gd name="T3" fmla="*/ 0 h 28"/>
                  <a:gd name="T4" fmla="*/ 30 w 40"/>
                  <a:gd name="T5" fmla="*/ 0 h 28"/>
                  <a:gd name="T6" fmla="*/ 0 w 40"/>
                  <a:gd name="T7" fmla="*/ 12 h 28"/>
                  <a:gd name="T8" fmla="*/ 0 w 40"/>
                  <a:gd name="T9" fmla="*/ 28 h 28"/>
                  <a:gd name="T10" fmla="*/ 36 w 40"/>
                  <a:gd name="T11" fmla="*/ 14 h 28"/>
                  <a:gd name="T12" fmla="*/ 36 w 40"/>
                  <a:gd name="T13" fmla="*/ 14 h 28"/>
                  <a:gd name="T14" fmla="*/ 38 w 40"/>
                  <a:gd name="T15" fmla="*/ 14 h 28"/>
                  <a:gd name="T16" fmla="*/ 40 w 40"/>
                  <a:gd name="T17" fmla="*/ 10 h 28"/>
                  <a:gd name="T18" fmla="*/ 40 w 40"/>
                  <a:gd name="T19" fmla="*/ 8 h 28"/>
                  <a:gd name="T20" fmla="*/ 40 w 40"/>
                  <a:gd name="T21" fmla="*/ 4 h 28"/>
                  <a:gd name="T22" fmla="*/ 40 w 40"/>
                  <a:gd name="T23" fmla="*/ 4 h 28"/>
                  <a:gd name="T24" fmla="*/ 36 w 40"/>
                  <a:gd name="T25" fmla="*/ 0 h 28"/>
                  <a:gd name="T26" fmla="*/ 32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32" y="0"/>
                    </a:moveTo>
                    <a:lnTo>
                      <a:pt x="32" y="0"/>
                    </a:lnTo>
                    <a:lnTo>
                      <a:pt x="30" y="0"/>
                    </a:lnTo>
                    <a:lnTo>
                      <a:pt x="0" y="12"/>
                    </a:lnTo>
                    <a:lnTo>
                      <a:pt x="0" y="2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6E4E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1950"/>
              <p:cNvSpPr>
                <a:spLocks/>
              </p:cNvSpPr>
              <p:nvPr/>
            </p:nvSpPr>
            <p:spPr bwMode="auto">
              <a:xfrm>
                <a:off x="12249151" y="1785169"/>
                <a:ext cx="63500" cy="44450"/>
              </a:xfrm>
              <a:custGeom>
                <a:avLst/>
                <a:gdLst>
                  <a:gd name="T0" fmla="*/ 32 w 40"/>
                  <a:gd name="T1" fmla="*/ 0 h 28"/>
                  <a:gd name="T2" fmla="*/ 32 w 40"/>
                  <a:gd name="T3" fmla="*/ 0 h 28"/>
                  <a:gd name="T4" fmla="*/ 30 w 40"/>
                  <a:gd name="T5" fmla="*/ 0 h 28"/>
                  <a:gd name="T6" fmla="*/ 0 w 40"/>
                  <a:gd name="T7" fmla="*/ 12 h 28"/>
                  <a:gd name="T8" fmla="*/ 0 w 40"/>
                  <a:gd name="T9" fmla="*/ 28 h 28"/>
                  <a:gd name="T10" fmla="*/ 36 w 40"/>
                  <a:gd name="T11" fmla="*/ 14 h 28"/>
                  <a:gd name="T12" fmla="*/ 36 w 40"/>
                  <a:gd name="T13" fmla="*/ 14 h 28"/>
                  <a:gd name="T14" fmla="*/ 38 w 40"/>
                  <a:gd name="T15" fmla="*/ 14 h 28"/>
                  <a:gd name="T16" fmla="*/ 40 w 40"/>
                  <a:gd name="T17" fmla="*/ 10 h 28"/>
                  <a:gd name="T18" fmla="*/ 40 w 40"/>
                  <a:gd name="T19" fmla="*/ 8 h 28"/>
                  <a:gd name="T20" fmla="*/ 40 w 40"/>
                  <a:gd name="T21" fmla="*/ 4 h 28"/>
                  <a:gd name="T22" fmla="*/ 40 w 40"/>
                  <a:gd name="T23" fmla="*/ 4 h 28"/>
                  <a:gd name="T24" fmla="*/ 36 w 40"/>
                  <a:gd name="T25" fmla="*/ 0 h 28"/>
                  <a:gd name="T26" fmla="*/ 32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32" y="0"/>
                    </a:moveTo>
                    <a:lnTo>
                      <a:pt x="32" y="0"/>
                    </a:lnTo>
                    <a:lnTo>
                      <a:pt x="30" y="0"/>
                    </a:lnTo>
                    <a:lnTo>
                      <a:pt x="0" y="12"/>
                    </a:lnTo>
                    <a:lnTo>
                      <a:pt x="0" y="2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0"/>
                    </a:lnTo>
                    <a:lnTo>
                      <a:pt x="3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1951"/>
              <p:cNvSpPr>
                <a:spLocks/>
              </p:cNvSpPr>
              <p:nvPr/>
            </p:nvSpPr>
            <p:spPr bwMode="auto">
              <a:xfrm>
                <a:off x="1104582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8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8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8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  <a:close/>
                  </a:path>
                </a:pathLst>
              </a:cu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1952"/>
              <p:cNvSpPr>
                <a:spLocks/>
              </p:cNvSpPr>
              <p:nvPr/>
            </p:nvSpPr>
            <p:spPr bwMode="auto">
              <a:xfrm>
                <a:off x="1104582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8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8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8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1953"/>
              <p:cNvSpPr>
                <a:spLocks/>
              </p:cNvSpPr>
              <p:nvPr/>
            </p:nvSpPr>
            <p:spPr bwMode="auto">
              <a:xfrm>
                <a:off x="11090276" y="1785169"/>
                <a:ext cx="63500" cy="44450"/>
              </a:xfrm>
              <a:custGeom>
                <a:avLst/>
                <a:gdLst>
                  <a:gd name="T0" fmla="*/ 8 w 40"/>
                  <a:gd name="T1" fmla="*/ 0 h 28"/>
                  <a:gd name="T2" fmla="*/ 8 w 40"/>
                  <a:gd name="T3" fmla="*/ 0 h 28"/>
                  <a:gd name="T4" fmla="*/ 4 w 40"/>
                  <a:gd name="T5" fmla="*/ 0 h 28"/>
                  <a:gd name="T6" fmla="*/ 2 w 40"/>
                  <a:gd name="T7" fmla="*/ 4 h 28"/>
                  <a:gd name="T8" fmla="*/ 2 w 40"/>
                  <a:gd name="T9" fmla="*/ 4 h 28"/>
                  <a:gd name="T10" fmla="*/ 0 w 40"/>
                  <a:gd name="T11" fmla="*/ 8 h 28"/>
                  <a:gd name="T12" fmla="*/ 2 w 40"/>
                  <a:gd name="T13" fmla="*/ 10 h 28"/>
                  <a:gd name="T14" fmla="*/ 4 w 40"/>
                  <a:gd name="T15" fmla="*/ 14 h 28"/>
                  <a:gd name="T16" fmla="*/ 6 w 40"/>
                  <a:gd name="T17" fmla="*/ 14 h 28"/>
                  <a:gd name="T18" fmla="*/ 40 w 40"/>
                  <a:gd name="T19" fmla="*/ 28 h 28"/>
                  <a:gd name="T20" fmla="*/ 38 w 40"/>
                  <a:gd name="T21" fmla="*/ 10 h 28"/>
                  <a:gd name="T22" fmla="*/ 12 w 40"/>
                  <a:gd name="T23" fmla="*/ 0 h 28"/>
                  <a:gd name="T24" fmla="*/ 12 w 40"/>
                  <a:gd name="T25" fmla="*/ 0 h 28"/>
                  <a:gd name="T26" fmla="*/ 8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0" y="28"/>
                    </a:lnTo>
                    <a:lnTo>
                      <a:pt x="38" y="1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6E4E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1954"/>
              <p:cNvSpPr>
                <a:spLocks/>
              </p:cNvSpPr>
              <p:nvPr/>
            </p:nvSpPr>
            <p:spPr bwMode="auto">
              <a:xfrm>
                <a:off x="11090276" y="1785169"/>
                <a:ext cx="63500" cy="44450"/>
              </a:xfrm>
              <a:custGeom>
                <a:avLst/>
                <a:gdLst>
                  <a:gd name="T0" fmla="*/ 8 w 40"/>
                  <a:gd name="T1" fmla="*/ 0 h 28"/>
                  <a:gd name="T2" fmla="*/ 8 w 40"/>
                  <a:gd name="T3" fmla="*/ 0 h 28"/>
                  <a:gd name="T4" fmla="*/ 4 w 40"/>
                  <a:gd name="T5" fmla="*/ 0 h 28"/>
                  <a:gd name="T6" fmla="*/ 2 w 40"/>
                  <a:gd name="T7" fmla="*/ 4 h 28"/>
                  <a:gd name="T8" fmla="*/ 2 w 40"/>
                  <a:gd name="T9" fmla="*/ 4 h 28"/>
                  <a:gd name="T10" fmla="*/ 0 w 40"/>
                  <a:gd name="T11" fmla="*/ 8 h 28"/>
                  <a:gd name="T12" fmla="*/ 2 w 40"/>
                  <a:gd name="T13" fmla="*/ 10 h 28"/>
                  <a:gd name="T14" fmla="*/ 4 w 40"/>
                  <a:gd name="T15" fmla="*/ 14 h 28"/>
                  <a:gd name="T16" fmla="*/ 6 w 40"/>
                  <a:gd name="T17" fmla="*/ 14 h 28"/>
                  <a:gd name="T18" fmla="*/ 40 w 40"/>
                  <a:gd name="T19" fmla="*/ 28 h 28"/>
                  <a:gd name="T20" fmla="*/ 38 w 40"/>
                  <a:gd name="T21" fmla="*/ 10 h 28"/>
                  <a:gd name="T22" fmla="*/ 12 w 40"/>
                  <a:gd name="T23" fmla="*/ 0 h 28"/>
                  <a:gd name="T24" fmla="*/ 12 w 40"/>
                  <a:gd name="T25" fmla="*/ 0 h 28"/>
                  <a:gd name="T26" fmla="*/ 8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0" y="28"/>
                    </a:lnTo>
                    <a:lnTo>
                      <a:pt x="38" y="1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1955"/>
              <p:cNvSpPr>
                <a:spLocks/>
              </p:cNvSpPr>
              <p:nvPr/>
            </p:nvSpPr>
            <p:spPr bwMode="auto">
              <a:xfrm>
                <a:off x="11137901" y="1105719"/>
                <a:ext cx="1111250" cy="1250950"/>
              </a:xfrm>
              <a:custGeom>
                <a:avLst/>
                <a:gdLst>
                  <a:gd name="T0" fmla="*/ 10 w 700"/>
                  <a:gd name="T1" fmla="*/ 490 h 788"/>
                  <a:gd name="T2" fmla="*/ 10 w 700"/>
                  <a:gd name="T3" fmla="*/ 490 h 788"/>
                  <a:gd name="T4" fmla="*/ 16 w 700"/>
                  <a:gd name="T5" fmla="*/ 520 h 788"/>
                  <a:gd name="T6" fmla="*/ 26 w 700"/>
                  <a:gd name="T7" fmla="*/ 550 h 788"/>
                  <a:gd name="T8" fmla="*/ 38 w 700"/>
                  <a:gd name="T9" fmla="*/ 578 h 788"/>
                  <a:gd name="T10" fmla="*/ 52 w 700"/>
                  <a:gd name="T11" fmla="*/ 606 h 788"/>
                  <a:gd name="T12" fmla="*/ 68 w 700"/>
                  <a:gd name="T13" fmla="*/ 632 h 788"/>
                  <a:gd name="T14" fmla="*/ 88 w 700"/>
                  <a:gd name="T15" fmla="*/ 656 h 788"/>
                  <a:gd name="T16" fmla="*/ 108 w 700"/>
                  <a:gd name="T17" fmla="*/ 680 h 788"/>
                  <a:gd name="T18" fmla="*/ 132 w 700"/>
                  <a:gd name="T19" fmla="*/ 700 h 788"/>
                  <a:gd name="T20" fmla="*/ 156 w 700"/>
                  <a:gd name="T21" fmla="*/ 720 h 788"/>
                  <a:gd name="T22" fmla="*/ 182 w 700"/>
                  <a:gd name="T23" fmla="*/ 738 h 788"/>
                  <a:gd name="T24" fmla="*/ 208 w 700"/>
                  <a:gd name="T25" fmla="*/ 752 h 788"/>
                  <a:gd name="T26" fmla="*/ 236 w 700"/>
                  <a:gd name="T27" fmla="*/ 766 h 788"/>
                  <a:gd name="T28" fmla="*/ 264 w 700"/>
                  <a:gd name="T29" fmla="*/ 776 h 788"/>
                  <a:gd name="T30" fmla="*/ 294 w 700"/>
                  <a:gd name="T31" fmla="*/ 782 h 788"/>
                  <a:gd name="T32" fmla="*/ 322 w 700"/>
                  <a:gd name="T33" fmla="*/ 788 h 788"/>
                  <a:gd name="T34" fmla="*/ 352 w 700"/>
                  <a:gd name="T35" fmla="*/ 788 h 788"/>
                  <a:gd name="T36" fmla="*/ 352 w 700"/>
                  <a:gd name="T37" fmla="*/ 788 h 788"/>
                  <a:gd name="T38" fmla="*/ 382 w 700"/>
                  <a:gd name="T39" fmla="*/ 788 h 788"/>
                  <a:gd name="T40" fmla="*/ 410 w 700"/>
                  <a:gd name="T41" fmla="*/ 784 h 788"/>
                  <a:gd name="T42" fmla="*/ 440 w 700"/>
                  <a:gd name="T43" fmla="*/ 776 h 788"/>
                  <a:gd name="T44" fmla="*/ 468 w 700"/>
                  <a:gd name="T45" fmla="*/ 768 h 788"/>
                  <a:gd name="T46" fmla="*/ 494 w 700"/>
                  <a:gd name="T47" fmla="*/ 756 h 788"/>
                  <a:gd name="T48" fmla="*/ 522 w 700"/>
                  <a:gd name="T49" fmla="*/ 742 h 788"/>
                  <a:gd name="T50" fmla="*/ 548 w 700"/>
                  <a:gd name="T51" fmla="*/ 724 h 788"/>
                  <a:gd name="T52" fmla="*/ 572 w 700"/>
                  <a:gd name="T53" fmla="*/ 706 h 788"/>
                  <a:gd name="T54" fmla="*/ 594 w 700"/>
                  <a:gd name="T55" fmla="*/ 686 h 788"/>
                  <a:gd name="T56" fmla="*/ 616 w 700"/>
                  <a:gd name="T57" fmla="*/ 664 h 788"/>
                  <a:gd name="T58" fmla="*/ 636 w 700"/>
                  <a:gd name="T59" fmla="*/ 638 h 788"/>
                  <a:gd name="T60" fmla="*/ 652 w 700"/>
                  <a:gd name="T61" fmla="*/ 612 h 788"/>
                  <a:gd name="T62" fmla="*/ 668 w 700"/>
                  <a:gd name="T63" fmla="*/ 584 h 788"/>
                  <a:gd name="T64" fmla="*/ 682 w 700"/>
                  <a:gd name="T65" fmla="*/ 554 h 788"/>
                  <a:gd name="T66" fmla="*/ 692 w 700"/>
                  <a:gd name="T67" fmla="*/ 524 h 788"/>
                  <a:gd name="T68" fmla="*/ 700 w 700"/>
                  <a:gd name="T69" fmla="*/ 492 h 788"/>
                  <a:gd name="T70" fmla="*/ 700 w 700"/>
                  <a:gd name="T71" fmla="*/ 64 h 788"/>
                  <a:gd name="T72" fmla="*/ 700 w 700"/>
                  <a:gd name="T73" fmla="*/ 64 h 788"/>
                  <a:gd name="T74" fmla="*/ 662 w 700"/>
                  <a:gd name="T75" fmla="*/ 54 h 788"/>
                  <a:gd name="T76" fmla="*/ 572 w 700"/>
                  <a:gd name="T77" fmla="*/ 32 h 788"/>
                  <a:gd name="T78" fmla="*/ 516 w 700"/>
                  <a:gd name="T79" fmla="*/ 20 h 788"/>
                  <a:gd name="T80" fmla="*/ 458 w 700"/>
                  <a:gd name="T81" fmla="*/ 10 h 788"/>
                  <a:gd name="T82" fmla="*/ 404 w 700"/>
                  <a:gd name="T83" fmla="*/ 4 h 788"/>
                  <a:gd name="T84" fmla="*/ 378 w 700"/>
                  <a:gd name="T85" fmla="*/ 2 h 788"/>
                  <a:gd name="T86" fmla="*/ 356 w 700"/>
                  <a:gd name="T87" fmla="*/ 0 h 788"/>
                  <a:gd name="T88" fmla="*/ 356 w 700"/>
                  <a:gd name="T89" fmla="*/ 0 h 788"/>
                  <a:gd name="T90" fmla="*/ 316 w 700"/>
                  <a:gd name="T91" fmla="*/ 2 h 788"/>
                  <a:gd name="T92" fmla="*/ 278 w 700"/>
                  <a:gd name="T93" fmla="*/ 4 h 788"/>
                  <a:gd name="T94" fmla="*/ 208 w 700"/>
                  <a:gd name="T95" fmla="*/ 10 h 788"/>
                  <a:gd name="T96" fmla="*/ 148 w 700"/>
                  <a:gd name="T97" fmla="*/ 20 h 788"/>
                  <a:gd name="T98" fmla="*/ 96 w 700"/>
                  <a:gd name="T99" fmla="*/ 32 h 788"/>
                  <a:gd name="T100" fmla="*/ 56 w 700"/>
                  <a:gd name="T101" fmla="*/ 44 h 788"/>
                  <a:gd name="T102" fmla="*/ 24 w 700"/>
                  <a:gd name="T103" fmla="*/ 54 h 788"/>
                  <a:gd name="T104" fmla="*/ 0 w 700"/>
                  <a:gd name="T105" fmla="*/ 64 h 788"/>
                  <a:gd name="T106" fmla="*/ 10 w 700"/>
                  <a:gd name="T107" fmla="*/ 490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00" h="788">
                    <a:moveTo>
                      <a:pt x="10" y="490"/>
                    </a:moveTo>
                    <a:lnTo>
                      <a:pt x="10" y="490"/>
                    </a:lnTo>
                    <a:lnTo>
                      <a:pt x="16" y="520"/>
                    </a:lnTo>
                    <a:lnTo>
                      <a:pt x="26" y="550"/>
                    </a:lnTo>
                    <a:lnTo>
                      <a:pt x="38" y="578"/>
                    </a:lnTo>
                    <a:lnTo>
                      <a:pt x="52" y="606"/>
                    </a:lnTo>
                    <a:lnTo>
                      <a:pt x="68" y="632"/>
                    </a:lnTo>
                    <a:lnTo>
                      <a:pt x="88" y="656"/>
                    </a:lnTo>
                    <a:lnTo>
                      <a:pt x="108" y="680"/>
                    </a:lnTo>
                    <a:lnTo>
                      <a:pt x="132" y="700"/>
                    </a:lnTo>
                    <a:lnTo>
                      <a:pt x="156" y="720"/>
                    </a:lnTo>
                    <a:lnTo>
                      <a:pt x="182" y="738"/>
                    </a:lnTo>
                    <a:lnTo>
                      <a:pt x="208" y="752"/>
                    </a:lnTo>
                    <a:lnTo>
                      <a:pt x="236" y="766"/>
                    </a:lnTo>
                    <a:lnTo>
                      <a:pt x="264" y="776"/>
                    </a:lnTo>
                    <a:lnTo>
                      <a:pt x="294" y="782"/>
                    </a:lnTo>
                    <a:lnTo>
                      <a:pt x="322" y="788"/>
                    </a:lnTo>
                    <a:lnTo>
                      <a:pt x="352" y="788"/>
                    </a:lnTo>
                    <a:lnTo>
                      <a:pt x="352" y="788"/>
                    </a:lnTo>
                    <a:lnTo>
                      <a:pt x="382" y="788"/>
                    </a:lnTo>
                    <a:lnTo>
                      <a:pt x="410" y="784"/>
                    </a:lnTo>
                    <a:lnTo>
                      <a:pt x="440" y="776"/>
                    </a:lnTo>
                    <a:lnTo>
                      <a:pt x="468" y="768"/>
                    </a:lnTo>
                    <a:lnTo>
                      <a:pt x="494" y="756"/>
                    </a:lnTo>
                    <a:lnTo>
                      <a:pt x="522" y="742"/>
                    </a:lnTo>
                    <a:lnTo>
                      <a:pt x="548" y="724"/>
                    </a:lnTo>
                    <a:lnTo>
                      <a:pt x="572" y="706"/>
                    </a:lnTo>
                    <a:lnTo>
                      <a:pt x="594" y="686"/>
                    </a:lnTo>
                    <a:lnTo>
                      <a:pt x="616" y="664"/>
                    </a:lnTo>
                    <a:lnTo>
                      <a:pt x="636" y="638"/>
                    </a:lnTo>
                    <a:lnTo>
                      <a:pt x="652" y="612"/>
                    </a:lnTo>
                    <a:lnTo>
                      <a:pt x="668" y="584"/>
                    </a:lnTo>
                    <a:lnTo>
                      <a:pt x="682" y="554"/>
                    </a:lnTo>
                    <a:lnTo>
                      <a:pt x="692" y="524"/>
                    </a:lnTo>
                    <a:lnTo>
                      <a:pt x="700" y="492"/>
                    </a:lnTo>
                    <a:lnTo>
                      <a:pt x="700" y="64"/>
                    </a:lnTo>
                    <a:lnTo>
                      <a:pt x="700" y="64"/>
                    </a:lnTo>
                    <a:lnTo>
                      <a:pt x="662" y="54"/>
                    </a:lnTo>
                    <a:lnTo>
                      <a:pt x="572" y="32"/>
                    </a:lnTo>
                    <a:lnTo>
                      <a:pt x="516" y="20"/>
                    </a:lnTo>
                    <a:lnTo>
                      <a:pt x="458" y="10"/>
                    </a:lnTo>
                    <a:lnTo>
                      <a:pt x="404" y="4"/>
                    </a:lnTo>
                    <a:lnTo>
                      <a:pt x="378" y="2"/>
                    </a:lnTo>
                    <a:lnTo>
                      <a:pt x="356" y="0"/>
                    </a:lnTo>
                    <a:lnTo>
                      <a:pt x="356" y="0"/>
                    </a:lnTo>
                    <a:lnTo>
                      <a:pt x="316" y="2"/>
                    </a:lnTo>
                    <a:lnTo>
                      <a:pt x="278" y="4"/>
                    </a:lnTo>
                    <a:lnTo>
                      <a:pt x="208" y="10"/>
                    </a:lnTo>
                    <a:lnTo>
                      <a:pt x="148" y="20"/>
                    </a:lnTo>
                    <a:lnTo>
                      <a:pt x="96" y="32"/>
                    </a:lnTo>
                    <a:lnTo>
                      <a:pt x="56" y="44"/>
                    </a:lnTo>
                    <a:lnTo>
                      <a:pt x="24" y="54"/>
                    </a:lnTo>
                    <a:lnTo>
                      <a:pt x="0" y="64"/>
                    </a:lnTo>
                    <a:lnTo>
                      <a:pt x="10" y="490"/>
                    </a:lnTo>
                    <a:close/>
                  </a:path>
                </a:pathLst>
              </a:cu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1956"/>
              <p:cNvSpPr>
                <a:spLocks/>
              </p:cNvSpPr>
              <p:nvPr/>
            </p:nvSpPr>
            <p:spPr bwMode="auto">
              <a:xfrm>
                <a:off x="11137901" y="1105719"/>
                <a:ext cx="1111250" cy="1250950"/>
              </a:xfrm>
              <a:custGeom>
                <a:avLst/>
                <a:gdLst>
                  <a:gd name="T0" fmla="*/ 10 w 700"/>
                  <a:gd name="T1" fmla="*/ 490 h 788"/>
                  <a:gd name="T2" fmla="*/ 10 w 700"/>
                  <a:gd name="T3" fmla="*/ 490 h 788"/>
                  <a:gd name="T4" fmla="*/ 16 w 700"/>
                  <a:gd name="T5" fmla="*/ 520 h 788"/>
                  <a:gd name="T6" fmla="*/ 26 w 700"/>
                  <a:gd name="T7" fmla="*/ 550 h 788"/>
                  <a:gd name="T8" fmla="*/ 38 w 700"/>
                  <a:gd name="T9" fmla="*/ 578 h 788"/>
                  <a:gd name="T10" fmla="*/ 52 w 700"/>
                  <a:gd name="T11" fmla="*/ 606 h 788"/>
                  <a:gd name="T12" fmla="*/ 68 w 700"/>
                  <a:gd name="T13" fmla="*/ 632 h 788"/>
                  <a:gd name="T14" fmla="*/ 88 w 700"/>
                  <a:gd name="T15" fmla="*/ 656 h 788"/>
                  <a:gd name="T16" fmla="*/ 108 w 700"/>
                  <a:gd name="T17" fmla="*/ 680 h 788"/>
                  <a:gd name="T18" fmla="*/ 132 w 700"/>
                  <a:gd name="T19" fmla="*/ 700 h 788"/>
                  <a:gd name="T20" fmla="*/ 156 w 700"/>
                  <a:gd name="T21" fmla="*/ 720 h 788"/>
                  <a:gd name="T22" fmla="*/ 182 w 700"/>
                  <a:gd name="T23" fmla="*/ 738 h 788"/>
                  <a:gd name="T24" fmla="*/ 208 w 700"/>
                  <a:gd name="T25" fmla="*/ 752 h 788"/>
                  <a:gd name="T26" fmla="*/ 236 w 700"/>
                  <a:gd name="T27" fmla="*/ 766 h 788"/>
                  <a:gd name="T28" fmla="*/ 264 w 700"/>
                  <a:gd name="T29" fmla="*/ 776 h 788"/>
                  <a:gd name="T30" fmla="*/ 294 w 700"/>
                  <a:gd name="T31" fmla="*/ 782 h 788"/>
                  <a:gd name="T32" fmla="*/ 322 w 700"/>
                  <a:gd name="T33" fmla="*/ 788 h 788"/>
                  <a:gd name="T34" fmla="*/ 352 w 700"/>
                  <a:gd name="T35" fmla="*/ 788 h 788"/>
                  <a:gd name="T36" fmla="*/ 352 w 700"/>
                  <a:gd name="T37" fmla="*/ 788 h 788"/>
                  <a:gd name="T38" fmla="*/ 382 w 700"/>
                  <a:gd name="T39" fmla="*/ 788 h 788"/>
                  <a:gd name="T40" fmla="*/ 410 w 700"/>
                  <a:gd name="T41" fmla="*/ 784 h 788"/>
                  <a:gd name="T42" fmla="*/ 440 w 700"/>
                  <a:gd name="T43" fmla="*/ 776 h 788"/>
                  <a:gd name="T44" fmla="*/ 468 w 700"/>
                  <a:gd name="T45" fmla="*/ 768 h 788"/>
                  <a:gd name="T46" fmla="*/ 494 w 700"/>
                  <a:gd name="T47" fmla="*/ 756 h 788"/>
                  <a:gd name="T48" fmla="*/ 522 w 700"/>
                  <a:gd name="T49" fmla="*/ 742 h 788"/>
                  <a:gd name="T50" fmla="*/ 548 w 700"/>
                  <a:gd name="T51" fmla="*/ 724 h 788"/>
                  <a:gd name="T52" fmla="*/ 572 w 700"/>
                  <a:gd name="T53" fmla="*/ 706 h 788"/>
                  <a:gd name="T54" fmla="*/ 594 w 700"/>
                  <a:gd name="T55" fmla="*/ 686 h 788"/>
                  <a:gd name="T56" fmla="*/ 616 w 700"/>
                  <a:gd name="T57" fmla="*/ 664 h 788"/>
                  <a:gd name="T58" fmla="*/ 636 w 700"/>
                  <a:gd name="T59" fmla="*/ 638 h 788"/>
                  <a:gd name="T60" fmla="*/ 652 w 700"/>
                  <a:gd name="T61" fmla="*/ 612 h 788"/>
                  <a:gd name="T62" fmla="*/ 668 w 700"/>
                  <a:gd name="T63" fmla="*/ 584 h 788"/>
                  <a:gd name="T64" fmla="*/ 682 w 700"/>
                  <a:gd name="T65" fmla="*/ 554 h 788"/>
                  <a:gd name="T66" fmla="*/ 692 w 700"/>
                  <a:gd name="T67" fmla="*/ 524 h 788"/>
                  <a:gd name="T68" fmla="*/ 700 w 700"/>
                  <a:gd name="T69" fmla="*/ 492 h 788"/>
                  <a:gd name="T70" fmla="*/ 700 w 700"/>
                  <a:gd name="T71" fmla="*/ 64 h 788"/>
                  <a:gd name="T72" fmla="*/ 700 w 700"/>
                  <a:gd name="T73" fmla="*/ 64 h 788"/>
                  <a:gd name="T74" fmla="*/ 662 w 700"/>
                  <a:gd name="T75" fmla="*/ 54 h 788"/>
                  <a:gd name="T76" fmla="*/ 572 w 700"/>
                  <a:gd name="T77" fmla="*/ 32 h 788"/>
                  <a:gd name="T78" fmla="*/ 516 w 700"/>
                  <a:gd name="T79" fmla="*/ 20 h 788"/>
                  <a:gd name="T80" fmla="*/ 458 w 700"/>
                  <a:gd name="T81" fmla="*/ 10 h 788"/>
                  <a:gd name="T82" fmla="*/ 404 w 700"/>
                  <a:gd name="T83" fmla="*/ 4 h 788"/>
                  <a:gd name="T84" fmla="*/ 378 w 700"/>
                  <a:gd name="T85" fmla="*/ 2 h 788"/>
                  <a:gd name="T86" fmla="*/ 356 w 700"/>
                  <a:gd name="T87" fmla="*/ 0 h 788"/>
                  <a:gd name="T88" fmla="*/ 356 w 700"/>
                  <a:gd name="T89" fmla="*/ 0 h 788"/>
                  <a:gd name="T90" fmla="*/ 316 w 700"/>
                  <a:gd name="T91" fmla="*/ 2 h 788"/>
                  <a:gd name="T92" fmla="*/ 278 w 700"/>
                  <a:gd name="T93" fmla="*/ 4 h 788"/>
                  <a:gd name="T94" fmla="*/ 208 w 700"/>
                  <a:gd name="T95" fmla="*/ 10 h 788"/>
                  <a:gd name="T96" fmla="*/ 148 w 700"/>
                  <a:gd name="T97" fmla="*/ 20 h 788"/>
                  <a:gd name="T98" fmla="*/ 96 w 700"/>
                  <a:gd name="T99" fmla="*/ 32 h 788"/>
                  <a:gd name="T100" fmla="*/ 56 w 700"/>
                  <a:gd name="T101" fmla="*/ 44 h 788"/>
                  <a:gd name="T102" fmla="*/ 24 w 700"/>
                  <a:gd name="T103" fmla="*/ 54 h 788"/>
                  <a:gd name="T104" fmla="*/ 0 w 700"/>
                  <a:gd name="T105" fmla="*/ 64 h 788"/>
                  <a:gd name="T106" fmla="*/ 10 w 700"/>
                  <a:gd name="T107" fmla="*/ 490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00" h="788">
                    <a:moveTo>
                      <a:pt x="10" y="490"/>
                    </a:moveTo>
                    <a:lnTo>
                      <a:pt x="10" y="490"/>
                    </a:lnTo>
                    <a:lnTo>
                      <a:pt x="16" y="520"/>
                    </a:lnTo>
                    <a:lnTo>
                      <a:pt x="26" y="550"/>
                    </a:lnTo>
                    <a:lnTo>
                      <a:pt x="38" y="578"/>
                    </a:lnTo>
                    <a:lnTo>
                      <a:pt x="52" y="606"/>
                    </a:lnTo>
                    <a:lnTo>
                      <a:pt x="68" y="632"/>
                    </a:lnTo>
                    <a:lnTo>
                      <a:pt x="88" y="656"/>
                    </a:lnTo>
                    <a:lnTo>
                      <a:pt x="108" y="680"/>
                    </a:lnTo>
                    <a:lnTo>
                      <a:pt x="132" y="700"/>
                    </a:lnTo>
                    <a:lnTo>
                      <a:pt x="156" y="720"/>
                    </a:lnTo>
                    <a:lnTo>
                      <a:pt x="182" y="738"/>
                    </a:lnTo>
                    <a:lnTo>
                      <a:pt x="208" y="752"/>
                    </a:lnTo>
                    <a:lnTo>
                      <a:pt x="236" y="766"/>
                    </a:lnTo>
                    <a:lnTo>
                      <a:pt x="264" y="776"/>
                    </a:lnTo>
                    <a:lnTo>
                      <a:pt x="294" y="782"/>
                    </a:lnTo>
                    <a:lnTo>
                      <a:pt x="322" y="788"/>
                    </a:lnTo>
                    <a:lnTo>
                      <a:pt x="352" y="788"/>
                    </a:lnTo>
                    <a:lnTo>
                      <a:pt x="352" y="788"/>
                    </a:lnTo>
                    <a:lnTo>
                      <a:pt x="382" y="788"/>
                    </a:lnTo>
                    <a:lnTo>
                      <a:pt x="410" y="784"/>
                    </a:lnTo>
                    <a:lnTo>
                      <a:pt x="440" y="776"/>
                    </a:lnTo>
                    <a:lnTo>
                      <a:pt x="468" y="768"/>
                    </a:lnTo>
                    <a:lnTo>
                      <a:pt x="494" y="756"/>
                    </a:lnTo>
                    <a:lnTo>
                      <a:pt x="522" y="742"/>
                    </a:lnTo>
                    <a:lnTo>
                      <a:pt x="548" y="724"/>
                    </a:lnTo>
                    <a:lnTo>
                      <a:pt x="572" y="706"/>
                    </a:lnTo>
                    <a:lnTo>
                      <a:pt x="594" y="686"/>
                    </a:lnTo>
                    <a:lnTo>
                      <a:pt x="616" y="664"/>
                    </a:lnTo>
                    <a:lnTo>
                      <a:pt x="636" y="638"/>
                    </a:lnTo>
                    <a:lnTo>
                      <a:pt x="652" y="612"/>
                    </a:lnTo>
                    <a:lnTo>
                      <a:pt x="668" y="584"/>
                    </a:lnTo>
                    <a:lnTo>
                      <a:pt x="682" y="554"/>
                    </a:lnTo>
                    <a:lnTo>
                      <a:pt x="692" y="524"/>
                    </a:lnTo>
                    <a:lnTo>
                      <a:pt x="700" y="492"/>
                    </a:lnTo>
                    <a:lnTo>
                      <a:pt x="700" y="64"/>
                    </a:lnTo>
                    <a:lnTo>
                      <a:pt x="700" y="64"/>
                    </a:lnTo>
                    <a:lnTo>
                      <a:pt x="662" y="54"/>
                    </a:lnTo>
                    <a:lnTo>
                      <a:pt x="572" y="32"/>
                    </a:lnTo>
                    <a:lnTo>
                      <a:pt x="516" y="20"/>
                    </a:lnTo>
                    <a:lnTo>
                      <a:pt x="458" y="10"/>
                    </a:lnTo>
                    <a:lnTo>
                      <a:pt x="404" y="4"/>
                    </a:lnTo>
                    <a:lnTo>
                      <a:pt x="378" y="2"/>
                    </a:lnTo>
                    <a:lnTo>
                      <a:pt x="356" y="0"/>
                    </a:lnTo>
                    <a:lnTo>
                      <a:pt x="356" y="0"/>
                    </a:lnTo>
                    <a:lnTo>
                      <a:pt x="316" y="2"/>
                    </a:lnTo>
                    <a:lnTo>
                      <a:pt x="278" y="4"/>
                    </a:lnTo>
                    <a:lnTo>
                      <a:pt x="208" y="10"/>
                    </a:lnTo>
                    <a:lnTo>
                      <a:pt x="148" y="20"/>
                    </a:lnTo>
                    <a:lnTo>
                      <a:pt x="96" y="32"/>
                    </a:lnTo>
                    <a:lnTo>
                      <a:pt x="56" y="44"/>
                    </a:lnTo>
                    <a:lnTo>
                      <a:pt x="24" y="54"/>
                    </a:lnTo>
                    <a:lnTo>
                      <a:pt x="0" y="64"/>
                    </a:lnTo>
                    <a:lnTo>
                      <a:pt x="10" y="49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1957"/>
              <p:cNvSpPr>
                <a:spLocks/>
              </p:cNvSpPr>
              <p:nvPr/>
            </p:nvSpPr>
            <p:spPr bwMode="auto">
              <a:xfrm>
                <a:off x="11153776" y="1877244"/>
                <a:ext cx="0" cy="6350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1958"/>
              <p:cNvSpPr>
                <a:spLocks/>
              </p:cNvSpPr>
              <p:nvPr/>
            </p:nvSpPr>
            <p:spPr bwMode="auto">
              <a:xfrm>
                <a:off x="11153776" y="1877244"/>
                <a:ext cx="0" cy="6350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1959"/>
              <p:cNvSpPr>
                <a:spLocks noEditPoints="1"/>
              </p:cNvSpPr>
              <p:nvPr/>
            </p:nvSpPr>
            <p:spPr bwMode="auto">
              <a:xfrm>
                <a:off x="11696701" y="2356669"/>
                <a:ext cx="22225" cy="0"/>
              </a:xfrm>
              <a:custGeom>
                <a:avLst/>
                <a:gdLst>
                  <a:gd name="T0" fmla="*/ 0 w 14"/>
                  <a:gd name="T1" fmla="*/ 0 w 14"/>
                  <a:gd name="T2" fmla="*/ 2 w 14"/>
                  <a:gd name="T3" fmla="*/ 0 w 14"/>
                  <a:gd name="T4" fmla="*/ 2 w 14"/>
                  <a:gd name="T5" fmla="*/ 2 w 14"/>
                  <a:gd name="T6" fmla="*/ 2 w 14"/>
                  <a:gd name="T7" fmla="*/ 4 w 14"/>
                  <a:gd name="T8" fmla="*/ 2 w 14"/>
                  <a:gd name="T9" fmla="*/ 4 w 14"/>
                  <a:gd name="T10" fmla="*/ 4 w 14"/>
                  <a:gd name="T11" fmla="*/ 4 w 14"/>
                  <a:gd name="T12" fmla="*/ 6 w 14"/>
                  <a:gd name="T13" fmla="*/ 4 w 14"/>
                  <a:gd name="T14" fmla="*/ 6 w 14"/>
                  <a:gd name="T15" fmla="*/ 6 w 14"/>
                  <a:gd name="T16" fmla="*/ 6 w 14"/>
                  <a:gd name="T17" fmla="*/ 6 w 14"/>
                  <a:gd name="T18" fmla="*/ 6 w 14"/>
                  <a:gd name="T19" fmla="*/ 6 w 14"/>
                  <a:gd name="T20" fmla="*/ 8 w 14"/>
                  <a:gd name="T21" fmla="*/ 8 w 14"/>
                  <a:gd name="T22" fmla="*/ 8 w 14"/>
                  <a:gd name="T23" fmla="*/ 8 w 14"/>
                  <a:gd name="T24" fmla="*/ 8 w 14"/>
                  <a:gd name="T25" fmla="*/ 10 w 14"/>
                  <a:gd name="T26" fmla="*/ 10 w 14"/>
                  <a:gd name="T27" fmla="*/ 10 w 14"/>
                  <a:gd name="T28" fmla="*/ 10 w 14"/>
                  <a:gd name="T29" fmla="*/ 10 w 14"/>
                  <a:gd name="T30" fmla="*/ 12 w 14"/>
                  <a:gd name="T31" fmla="*/ 10 w 14"/>
                  <a:gd name="T32" fmla="*/ 12 w 14"/>
                  <a:gd name="T33" fmla="*/ 12 w 14"/>
                  <a:gd name="T34" fmla="*/ 12 w 14"/>
                  <a:gd name="T35" fmla="*/ 14 w 14"/>
                  <a:gd name="T36" fmla="*/ 12 w 14"/>
                  <a:gd name="T37" fmla="*/ 14 w 14"/>
                  <a:gd name="T38" fmla="*/ 14 w 14"/>
                  <a:gd name="T39" fmla="*/ 14 w 14"/>
                  <a:gd name="T40" fmla="*/ 14 w 14"/>
                  <a:gd name="T41" fmla="*/ 14 w 1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  <a:cxn ang="0">
                    <a:pos x="T12" y="0"/>
                  </a:cxn>
                  <a:cxn ang="0">
                    <a:pos x="T13" y="0"/>
                  </a:cxn>
                  <a:cxn ang="0">
                    <a:pos x="T14" y="0"/>
                  </a:cxn>
                  <a:cxn ang="0">
                    <a:pos x="T15" y="0"/>
                  </a:cxn>
                  <a:cxn ang="0">
                    <a:pos x="T16" y="0"/>
                  </a:cxn>
                  <a:cxn ang="0">
                    <a:pos x="T17" y="0"/>
                  </a:cxn>
                  <a:cxn ang="0">
                    <a:pos x="T18" y="0"/>
                  </a:cxn>
                  <a:cxn ang="0">
                    <a:pos x="T19" y="0"/>
                  </a:cxn>
                  <a:cxn ang="0">
                    <a:pos x="T20" y="0"/>
                  </a:cxn>
                  <a:cxn ang="0">
                    <a:pos x="T21" y="0"/>
                  </a:cxn>
                  <a:cxn ang="0">
                    <a:pos x="T22" y="0"/>
                  </a:cxn>
                  <a:cxn ang="0">
                    <a:pos x="T23" y="0"/>
                  </a:cxn>
                  <a:cxn ang="0">
                    <a:pos x="T24" y="0"/>
                  </a:cxn>
                  <a:cxn ang="0">
                    <a:pos x="T25" y="0"/>
                  </a:cxn>
                  <a:cxn ang="0">
                    <a:pos x="T26" y="0"/>
                  </a:cxn>
                  <a:cxn ang="0">
                    <a:pos x="T27" y="0"/>
                  </a:cxn>
                  <a:cxn ang="0">
                    <a:pos x="T28" y="0"/>
                  </a:cxn>
                  <a:cxn ang="0">
                    <a:pos x="T29" y="0"/>
                  </a:cxn>
                  <a:cxn ang="0">
                    <a:pos x="T30" y="0"/>
                  </a:cxn>
                  <a:cxn ang="0">
                    <a:pos x="T31" y="0"/>
                  </a:cxn>
                  <a:cxn ang="0">
                    <a:pos x="T32" y="0"/>
                  </a:cxn>
                  <a:cxn ang="0">
                    <a:pos x="T33" y="0"/>
                  </a:cxn>
                  <a:cxn ang="0">
                    <a:pos x="T34" y="0"/>
                  </a:cxn>
                  <a:cxn ang="0">
                    <a:pos x="T35" y="0"/>
                  </a:cxn>
                  <a:cxn ang="0">
                    <a:pos x="T36" y="0"/>
                  </a:cxn>
                  <a:cxn ang="0">
                    <a:pos x="T37" y="0"/>
                  </a:cxn>
                  <a:cxn ang="0">
                    <a:pos x="T38" y="0"/>
                  </a:cxn>
                  <a:cxn ang="0">
                    <a:pos x="T39" y="0"/>
                  </a:cxn>
                  <a:cxn ang="0">
                    <a:pos x="T40" y="0"/>
                  </a:cxn>
                  <a:cxn ang="0">
                    <a:pos x="T41" y="0"/>
                  </a:cxn>
                </a:cxnLst>
                <a:rect l="0" t="0" r="r" b="b"/>
                <a:pathLst>
                  <a:path w="1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Rectangle 1960"/>
              <p:cNvSpPr>
                <a:spLocks noChangeArrowheads="1"/>
              </p:cNvSpPr>
              <p:nvPr/>
            </p:nvSpPr>
            <p:spPr bwMode="auto">
              <a:xfrm>
                <a:off x="116967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Rectangle 1961"/>
              <p:cNvSpPr>
                <a:spLocks noChangeArrowheads="1"/>
              </p:cNvSpPr>
              <p:nvPr/>
            </p:nvSpPr>
            <p:spPr bwMode="auto">
              <a:xfrm>
                <a:off x="1169670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Rectangle 1962"/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Rectangle 1963"/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Rectangle 1964"/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Rectangle 1965"/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Rectangle 1966"/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Rectangle 1967"/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Rectangle 1968"/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Rectangle 1969"/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Rectangle 1970"/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Rectangle 1971"/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Rectangle 1972"/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Rectangle 1973"/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Rectangle 1974"/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Rectangle 1975"/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Rectangle 1976"/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1977"/>
              <p:cNvSpPr>
                <a:spLocks/>
              </p:cNvSpPr>
              <p:nvPr/>
            </p:nvSpPr>
            <p:spPr bwMode="auto">
              <a:xfrm>
                <a:off x="11153776" y="1877244"/>
                <a:ext cx="542925" cy="479425"/>
              </a:xfrm>
              <a:custGeom>
                <a:avLst/>
                <a:gdLst>
                  <a:gd name="T0" fmla="*/ 0 w 342"/>
                  <a:gd name="T1" fmla="*/ 0 h 302"/>
                  <a:gd name="T2" fmla="*/ 0 w 342"/>
                  <a:gd name="T3" fmla="*/ 4 h 302"/>
                  <a:gd name="T4" fmla="*/ 0 w 342"/>
                  <a:gd name="T5" fmla="*/ 4 h 302"/>
                  <a:gd name="T6" fmla="*/ 6 w 342"/>
                  <a:gd name="T7" fmla="*/ 34 h 302"/>
                  <a:gd name="T8" fmla="*/ 16 w 342"/>
                  <a:gd name="T9" fmla="*/ 64 h 302"/>
                  <a:gd name="T10" fmla="*/ 28 w 342"/>
                  <a:gd name="T11" fmla="*/ 92 h 302"/>
                  <a:gd name="T12" fmla="*/ 42 w 342"/>
                  <a:gd name="T13" fmla="*/ 120 h 302"/>
                  <a:gd name="T14" fmla="*/ 58 w 342"/>
                  <a:gd name="T15" fmla="*/ 146 h 302"/>
                  <a:gd name="T16" fmla="*/ 78 w 342"/>
                  <a:gd name="T17" fmla="*/ 170 h 302"/>
                  <a:gd name="T18" fmla="*/ 98 w 342"/>
                  <a:gd name="T19" fmla="*/ 194 h 302"/>
                  <a:gd name="T20" fmla="*/ 122 w 342"/>
                  <a:gd name="T21" fmla="*/ 214 h 302"/>
                  <a:gd name="T22" fmla="*/ 146 w 342"/>
                  <a:gd name="T23" fmla="*/ 234 h 302"/>
                  <a:gd name="T24" fmla="*/ 172 w 342"/>
                  <a:gd name="T25" fmla="*/ 252 h 302"/>
                  <a:gd name="T26" fmla="*/ 198 w 342"/>
                  <a:gd name="T27" fmla="*/ 266 h 302"/>
                  <a:gd name="T28" fmla="*/ 226 w 342"/>
                  <a:gd name="T29" fmla="*/ 280 h 302"/>
                  <a:gd name="T30" fmla="*/ 254 w 342"/>
                  <a:gd name="T31" fmla="*/ 290 h 302"/>
                  <a:gd name="T32" fmla="*/ 284 w 342"/>
                  <a:gd name="T33" fmla="*/ 296 h 302"/>
                  <a:gd name="T34" fmla="*/ 312 w 342"/>
                  <a:gd name="T35" fmla="*/ 302 h 302"/>
                  <a:gd name="T36" fmla="*/ 342 w 342"/>
                  <a:gd name="T37" fmla="*/ 302 h 302"/>
                  <a:gd name="T38" fmla="*/ 342 w 342"/>
                  <a:gd name="T39" fmla="*/ 302 h 302"/>
                  <a:gd name="T40" fmla="*/ 342 w 342"/>
                  <a:gd name="T41" fmla="*/ 302 h 302"/>
                  <a:gd name="T42" fmla="*/ 342 w 342"/>
                  <a:gd name="T43" fmla="*/ 302 h 302"/>
                  <a:gd name="T44" fmla="*/ 342 w 342"/>
                  <a:gd name="T45" fmla="*/ 302 h 302"/>
                  <a:gd name="T46" fmla="*/ 342 w 342"/>
                  <a:gd name="T47" fmla="*/ 302 h 302"/>
                  <a:gd name="T48" fmla="*/ 342 w 342"/>
                  <a:gd name="T49" fmla="*/ 302 h 302"/>
                  <a:gd name="T50" fmla="*/ 342 w 342"/>
                  <a:gd name="T51" fmla="*/ 302 h 302"/>
                  <a:gd name="T52" fmla="*/ 312 w 342"/>
                  <a:gd name="T53" fmla="*/ 302 h 302"/>
                  <a:gd name="T54" fmla="*/ 284 w 342"/>
                  <a:gd name="T55" fmla="*/ 296 h 302"/>
                  <a:gd name="T56" fmla="*/ 254 w 342"/>
                  <a:gd name="T57" fmla="*/ 290 h 302"/>
                  <a:gd name="T58" fmla="*/ 226 w 342"/>
                  <a:gd name="T59" fmla="*/ 280 h 302"/>
                  <a:gd name="T60" fmla="*/ 198 w 342"/>
                  <a:gd name="T61" fmla="*/ 266 h 302"/>
                  <a:gd name="T62" fmla="*/ 172 w 342"/>
                  <a:gd name="T63" fmla="*/ 252 h 302"/>
                  <a:gd name="T64" fmla="*/ 146 w 342"/>
                  <a:gd name="T65" fmla="*/ 234 h 302"/>
                  <a:gd name="T66" fmla="*/ 122 w 342"/>
                  <a:gd name="T67" fmla="*/ 214 h 302"/>
                  <a:gd name="T68" fmla="*/ 98 w 342"/>
                  <a:gd name="T69" fmla="*/ 194 h 302"/>
                  <a:gd name="T70" fmla="*/ 78 w 342"/>
                  <a:gd name="T71" fmla="*/ 170 h 302"/>
                  <a:gd name="T72" fmla="*/ 58 w 342"/>
                  <a:gd name="T73" fmla="*/ 146 h 302"/>
                  <a:gd name="T74" fmla="*/ 42 w 342"/>
                  <a:gd name="T75" fmla="*/ 120 h 302"/>
                  <a:gd name="T76" fmla="*/ 28 w 342"/>
                  <a:gd name="T77" fmla="*/ 92 h 302"/>
                  <a:gd name="T78" fmla="*/ 16 w 342"/>
                  <a:gd name="T79" fmla="*/ 64 h 302"/>
                  <a:gd name="T80" fmla="*/ 6 w 342"/>
                  <a:gd name="T81" fmla="*/ 34 h 302"/>
                  <a:gd name="T82" fmla="*/ 0 w 342"/>
                  <a:gd name="T83" fmla="*/ 4 h 302"/>
                  <a:gd name="T84" fmla="*/ 0 w 342"/>
                  <a:gd name="T85" fmla="*/ 0 h 302"/>
                  <a:gd name="T86" fmla="*/ 0 w 342"/>
                  <a:gd name="T87" fmla="*/ 0 h 302"/>
                  <a:gd name="T88" fmla="*/ 0 w 342"/>
                  <a:gd name="T89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2" h="302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6" y="34"/>
                    </a:lnTo>
                    <a:lnTo>
                      <a:pt x="16" y="64"/>
                    </a:lnTo>
                    <a:lnTo>
                      <a:pt x="28" y="92"/>
                    </a:lnTo>
                    <a:lnTo>
                      <a:pt x="42" y="120"/>
                    </a:lnTo>
                    <a:lnTo>
                      <a:pt x="58" y="146"/>
                    </a:lnTo>
                    <a:lnTo>
                      <a:pt x="78" y="170"/>
                    </a:lnTo>
                    <a:lnTo>
                      <a:pt x="98" y="194"/>
                    </a:lnTo>
                    <a:lnTo>
                      <a:pt x="122" y="214"/>
                    </a:lnTo>
                    <a:lnTo>
                      <a:pt x="146" y="234"/>
                    </a:lnTo>
                    <a:lnTo>
                      <a:pt x="172" y="252"/>
                    </a:lnTo>
                    <a:lnTo>
                      <a:pt x="198" y="266"/>
                    </a:lnTo>
                    <a:lnTo>
                      <a:pt x="226" y="280"/>
                    </a:lnTo>
                    <a:lnTo>
                      <a:pt x="254" y="290"/>
                    </a:lnTo>
                    <a:lnTo>
                      <a:pt x="284" y="296"/>
                    </a:lnTo>
                    <a:lnTo>
                      <a:pt x="31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12" y="302"/>
                    </a:lnTo>
                    <a:lnTo>
                      <a:pt x="284" y="296"/>
                    </a:lnTo>
                    <a:lnTo>
                      <a:pt x="254" y="290"/>
                    </a:lnTo>
                    <a:lnTo>
                      <a:pt x="226" y="280"/>
                    </a:lnTo>
                    <a:lnTo>
                      <a:pt x="198" y="266"/>
                    </a:lnTo>
                    <a:lnTo>
                      <a:pt x="172" y="252"/>
                    </a:lnTo>
                    <a:lnTo>
                      <a:pt x="146" y="234"/>
                    </a:lnTo>
                    <a:lnTo>
                      <a:pt x="122" y="214"/>
                    </a:lnTo>
                    <a:lnTo>
                      <a:pt x="98" y="194"/>
                    </a:lnTo>
                    <a:lnTo>
                      <a:pt x="78" y="170"/>
                    </a:lnTo>
                    <a:lnTo>
                      <a:pt x="58" y="146"/>
                    </a:lnTo>
                    <a:lnTo>
                      <a:pt x="42" y="120"/>
                    </a:lnTo>
                    <a:lnTo>
                      <a:pt x="28" y="92"/>
                    </a:lnTo>
                    <a:lnTo>
                      <a:pt x="16" y="64"/>
                    </a:lnTo>
                    <a:lnTo>
                      <a:pt x="6" y="3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1978"/>
              <p:cNvSpPr>
                <a:spLocks/>
              </p:cNvSpPr>
              <p:nvPr/>
            </p:nvSpPr>
            <p:spPr bwMode="auto">
              <a:xfrm>
                <a:off x="11153776" y="1877244"/>
                <a:ext cx="542925" cy="479425"/>
              </a:xfrm>
              <a:custGeom>
                <a:avLst/>
                <a:gdLst>
                  <a:gd name="T0" fmla="*/ 0 w 342"/>
                  <a:gd name="T1" fmla="*/ 0 h 302"/>
                  <a:gd name="T2" fmla="*/ 0 w 342"/>
                  <a:gd name="T3" fmla="*/ 4 h 302"/>
                  <a:gd name="T4" fmla="*/ 0 w 342"/>
                  <a:gd name="T5" fmla="*/ 4 h 302"/>
                  <a:gd name="T6" fmla="*/ 6 w 342"/>
                  <a:gd name="T7" fmla="*/ 34 h 302"/>
                  <a:gd name="T8" fmla="*/ 16 w 342"/>
                  <a:gd name="T9" fmla="*/ 64 h 302"/>
                  <a:gd name="T10" fmla="*/ 28 w 342"/>
                  <a:gd name="T11" fmla="*/ 92 h 302"/>
                  <a:gd name="T12" fmla="*/ 42 w 342"/>
                  <a:gd name="T13" fmla="*/ 120 h 302"/>
                  <a:gd name="T14" fmla="*/ 58 w 342"/>
                  <a:gd name="T15" fmla="*/ 146 h 302"/>
                  <a:gd name="T16" fmla="*/ 78 w 342"/>
                  <a:gd name="T17" fmla="*/ 170 h 302"/>
                  <a:gd name="T18" fmla="*/ 98 w 342"/>
                  <a:gd name="T19" fmla="*/ 194 h 302"/>
                  <a:gd name="T20" fmla="*/ 122 w 342"/>
                  <a:gd name="T21" fmla="*/ 214 h 302"/>
                  <a:gd name="T22" fmla="*/ 146 w 342"/>
                  <a:gd name="T23" fmla="*/ 234 h 302"/>
                  <a:gd name="T24" fmla="*/ 172 w 342"/>
                  <a:gd name="T25" fmla="*/ 252 h 302"/>
                  <a:gd name="T26" fmla="*/ 198 w 342"/>
                  <a:gd name="T27" fmla="*/ 266 h 302"/>
                  <a:gd name="T28" fmla="*/ 226 w 342"/>
                  <a:gd name="T29" fmla="*/ 280 h 302"/>
                  <a:gd name="T30" fmla="*/ 254 w 342"/>
                  <a:gd name="T31" fmla="*/ 290 h 302"/>
                  <a:gd name="T32" fmla="*/ 284 w 342"/>
                  <a:gd name="T33" fmla="*/ 296 h 302"/>
                  <a:gd name="T34" fmla="*/ 312 w 342"/>
                  <a:gd name="T35" fmla="*/ 302 h 302"/>
                  <a:gd name="T36" fmla="*/ 342 w 342"/>
                  <a:gd name="T37" fmla="*/ 302 h 302"/>
                  <a:gd name="T38" fmla="*/ 342 w 342"/>
                  <a:gd name="T39" fmla="*/ 302 h 302"/>
                  <a:gd name="T40" fmla="*/ 342 w 342"/>
                  <a:gd name="T41" fmla="*/ 302 h 302"/>
                  <a:gd name="T42" fmla="*/ 342 w 342"/>
                  <a:gd name="T43" fmla="*/ 302 h 302"/>
                  <a:gd name="T44" fmla="*/ 342 w 342"/>
                  <a:gd name="T45" fmla="*/ 302 h 302"/>
                  <a:gd name="T46" fmla="*/ 342 w 342"/>
                  <a:gd name="T47" fmla="*/ 302 h 302"/>
                  <a:gd name="T48" fmla="*/ 342 w 342"/>
                  <a:gd name="T49" fmla="*/ 302 h 302"/>
                  <a:gd name="T50" fmla="*/ 342 w 342"/>
                  <a:gd name="T51" fmla="*/ 302 h 302"/>
                  <a:gd name="T52" fmla="*/ 312 w 342"/>
                  <a:gd name="T53" fmla="*/ 302 h 302"/>
                  <a:gd name="T54" fmla="*/ 284 w 342"/>
                  <a:gd name="T55" fmla="*/ 296 h 302"/>
                  <a:gd name="T56" fmla="*/ 254 w 342"/>
                  <a:gd name="T57" fmla="*/ 290 h 302"/>
                  <a:gd name="T58" fmla="*/ 226 w 342"/>
                  <a:gd name="T59" fmla="*/ 280 h 302"/>
                  <a:gd name="T60" fmla="*/ 198 w 342"/>
                  <a:gd name="T61" fmla="*/ 266 h 302"/>
                  <a:gd name="T62" fmla="*/ 172 w 342"/>
                  <a:gd name="T63" fmla="*/ 252 h 302"/>
                  <a:gd name="T64" fmla="*/ 146 w 342"/>
                  <a:gd name="T65" fmla="*/ 234 h 302"/>
                  <a:gd name="T66" fmla="*/ 122 w 342"/>
                  <a:gd name="T67" fmla="*/ 214 h 302"/>
                  <a:gd name="T68" fmla="*/ 98 w 342"/>
                  <a:gd name="T69" fmla="*/ 194 h 302"/>
                  <a:gd name="T70" fmla="*/ 78 w 342"/>
                  <a:gd name="T71" fmla="*/ 170 h 302"/>
                  <a:gd name="T72" fmla="*/ 58 w 342"/>
                  <a:gd name="T73" fmla="*/ 146 h 302"/>
                  <a:gd name="T74" fmla="*/ 42 w 342"/>
                  <a:gd name="T75" fmla="*/ 120 h 302"/>
                  <a:gd name="T76" fmla="*/ 28 w 342"/>
                  <a:gd name="T77" fmla="*/ 92 h 302"/>
                  <a:gd name="T78" fmla="*/ 16 w 342"/>
                  <a:gd name="T79" fmla="*/ 64 h 302"/>
                  <a:gd name="T80" fmla="*/ 6 w 342"/>
                  <a:gd name="T81" fmla="*/ 34 h 302"/>
                  <a:gd name="T82" fmla="*/ 0 w 342"/>
                  <a:gd name="T83" fmla="*/ 4 h 302"/>
                  <a:gd name="T84" fmla="*/ 0 w 342"/>
                  <a:gd name="T85" fmla="*/ 0 h 302"/>
                  <a:gd name="T86" fmla="*/ 0 w 342"/>
                  <a:gd name="T87" fmla="*/ 0 h 302"/>
                  <a:gd name="T88" fmla="*/ 0 w 342"/>
                  <a:gd name="T89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2" h="302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6" y="34"/>
                    </a:lnTo>
                    <a:lnTo>
                      <a:pt x="16" y="64"/>
                    </a:lnTo>
                    <a:lnTo>
                      <a:pt x="28" y="92"/>
                    </a:lnTo>
                    <a:lnTo>
                      <a:pt x="42" y="120"/>
                    </a:lnTo>
                    <a:lnTo>
                      <a:pt x="58" y="146"/>
                    </a:lnTo>
                    <a:lnTo>
                      <a:pt x="78" y="170"/>
                    </a:lnTo>
                    <a:lnTo>
                      <a:pt x="98" y="194"/>
                    </a:lnTo>
                    <a:lnTo>
                      <a:pt x="122" y="214"/>
                    </a:lnTo>
                    <a:lnTo>
                      <a:pt x="146" y="234"/>
                    </a:lnTo>
                    <a:lnTo>
                      <a:pt x="172" y="252"/>
                    </a:lnTo>
                    <a:lnTo>
                      <a:pt x="198" y="266"/>
                    </a:lnTo>
                    <a:lnTo>
                      <a:pt x="226" y="280"/>
                    </a:lnTo>
                    <a:lnTo>
                      <a:pt x="254" y="290"/>
                    </a:lnTo>
                    <a:lnTo>
                      <a:pt x="284" y="296"/>
                    </a:lnTo>
                    <a:lnTo>
                      <a:pt x="31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12" y="302"/>
                    </a:lnTo>
                    <a:lnTo>
                      <a:pt x="284" y="296"/>
                    </a:lnTo>
                    <a:lnTo>
                      <a:pt x="254" y="290"/>
                    </a:lnTo>
                    <a:lnTo>
                      <a:pt x="226" y="280"/>
                    </a:lnTo>
                    <a:lnTo>
                      <a:pt x="198" y="266"/>
                    </a:lnTo>
                    <a:lnTo>
                      <a:pt x="172" y="252"/>
                    </a:lnTo>
                    <a:lnTo>
                      <a:pt x="146" y="234"/>
                    </a:lnTo>
                    <a:lnTo>
                      <a:pt x="122" y="214"/>
                    </a:lnTo>
                    <a:lnTo>
                      <a:pt x="98" y="194"/>
                    </a:lnTo>
                    <a:lnTo>
                      <a:pt x="78" y="170"/>
                    </a:lnTo>
                    <a:lnTo>
                      <a:pt x="58" y="146"/>
                    </a:lnTo>
                    <a:lnTo>
                      <a:pt x="42" y="120"/>
                    </a:lnTo>
                    <a:lnTo>
                      <a:pt x="28" y="92"/>
                    </a:lnTo>
                    <a:lnTo>
                      <a:pt x="16" y="64"/>
                    </a:lnTo>
                    <a:lnTo>
                      <a:pt x="6" y="3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1979"/>
              <p:cNvSpPr>
                <a:spLocks noEditPoints="1"/>
              </p:cNvSpPr>
              <p:nvPr/>
            </p:nvSpPr>
            <p:spPr bwMode="auto">
              <a:xfrm>
                <a:off x="11150601" y="1750244"/>
                <a:ext cx="1098550" cy="606425"/>
              </a:xfrm>
              <a:custGeom>
                <a:avLst/>
                <a:gdLst>
                  <a:gd name="T0" fmla="*/ 344 w 692"/>
                  <a:gd name="T1" fmla="*/ 382 h 382"/>
                  <a:gd name="T2" fmla="*/ 346 w 692"/>
                  <a:gd name="T3" fmla="*/ 382 h 382"/>
                  <a:gd name="T4" fmla="*/ 346 w 692"/>
                  <a:gd name="T5" fmla="*/ 382 h 382"/>
                  <a:gd name="T6" fmla="*/ 348 w 692"/>
                  <a:gd name="T7" fmla="*/ 382 h 382"/>
                  <a:gd name="T8" fmla="*/ 348 w 692"/>
                  <a:gd name="T9" fmla="*/ 382 h 382"/>
                  <a:gd name="T10" fmla="*/ 348 w 692"/>
                  <a:gd name="T11" fmla="*/ 382 h 382"/>
                  <a:gd name="T12" fmla="*/ 350 w 692"/>
                  <a:gd name="T13" fmla="*/ 382 h 382"/>
                  <a:gd name="T14" fmla="*/ 350 w 692"/>
                  <a:gd name="T15" fmla="*/ 382 h 382"/>
                  <a:gd name="T16" fmla="*/ 352 w 692"/>
                  <a:gd name="T17" fmla="*/ 382 h 382"/>
                  <a:gd name="T18" fmla="*/ 352 w 692"/>
                  <a:gd name="T19" fmla="*/ 382 h 382"/>
                  <a:gd name="T20" fmla="*/ 352 w 692"/>
                  <a:gd name="T21" fmla="*/ 382 h 382"/>
                  <a:gd name="T22" fmla="*/ 352 w 692"/>
                  <a:gd name="T23" fmla="*/ 382 h 382"/>
                  <a:gd name="T24" fmla="*/ 354 w 692"/>
                  <a:gd name="T25" fmla="*/ 382 h 382"/>
                  <a:gd name="T26" fmla="*/ 354 w 692"/>
                  <a:gd name="T27" fmla="*/ 382 h 382"/>
                  <a:gd name="T28" fmla="*/ 354 w 692"/>
                  <a:gd name="T29" fmla="*/ 382 h 382"/>
                  <a:gd name="T30" fmla="*/ 356 w 692"/>
                  <a:gd name="T31" fmla="*/ 382 h 382"/>
                  <a:gd name="T32" fmla="*/ 356 w 692"/>
                  <a:gd name="T33" fmla="*/ 382 h 382"/>
                  <a:gd name="T34" fmla="*/ 358 w 692"/>
                  <a:gd name="T35" fmla="*/ 382 h 382"/>
                  <a:gd name="T36" fmla="*/ 358 w 692"/>
                  <a:gd name="T37" fmla="*/ 382 h 382"/>
                  <a:gd name="T38" fmla="*/ 358 w 692"/>
                  <a:gd name="T39" fmla="*/ 382 h 382"/>
                  <a:gd name="T40" fmla="*/ 678 w 692"/>
                  <a:gd name="T41" fmla="*/ 138 h 382"/>
                  <a:gd name="T42" fmla="*/ 620 w 692"/>
                  <a:gd name="T43" fmla="*/ 242 h 382"/>
                  <a:gd name="T44" fmla="*/ 538 w 692"/>
                  <a:gd name="T45" fmla="*/ 320 h 382"/>
                  <a:gd name="T46" fmla="*/ 438 w 692"/>
                  <a:gd name="T47" fmla="*/ 368 h 382"/>
                  <a:gd name="T48" fmla="*/ 358 w 692"/>
                  <a:gd name="T49" fmla="*/ 382 h 382"/>
                  <a:gd name="T50" fmla="*/ 470 w 692"/>
                  <a:gd name="T51" fmla="*/ 356 h 382"/>
                  <a:gd name="T52" fmla="*/ 570 w 692"/>
                  <a:gd name="T53" fmla="*/ 296 h 382"/>
                  <a:gd name="T54" fmla="*/ 646 w 692"/>
                  <a:gd name="T55" fmla="*/ 204 h 382"/>
                  <a:gd name="T56" fmla="*/ 692 w 692"/>
                  <a:gd name="T57" fmla="*/ 86 h 382"/>
                  <a:gd name="T58" fmla="*/ 690 w 692"/>
                  <a:gd name="T59" fmla="*/ 4 h 382"/>
                  <a:gd name="T60" fmla="*/ 648 w 692"/>
                  <a:gd name="T61" fmla="*/ 4 h 382"/>
                  <a:gd name="T62" fmla="*/ 624 w 692"/>
                  <a:gd name="T63" fmla="*/ 94 h 382"/>
                  <a:gd name="T64" fmla="*/ 586 w 692"/>
                  <a:gd name="T65" fmla="*/ 142 h 382"/>
                  <a:gd name="T66" fmla="*/ 538 w 692"/>
                  <a:gd name="T67" fmla="*/ 156 h 382"/>
                  <a:gd name="T68" fmla="*/ 450 w 692"/>
                  <a:gd name="T69" fmla="*/ 98 h 382"/>
                  <a:gd name="T70" fmla="*/ 338 w 692"/>
                  <a:gd name="T71" fmla="*/ 78 h 382"/>
                  <a:gd name="T72" fmla="*/ 256 w 692"/>
                  <a:gd name="T73" fmla="*/ 90 h 382"/>
                  <a:gd name="T74" fmla="*/ 166 w 692"/>
                  <a:gd name="T75" fmla="*/ 138 h 382"/>
                  <a:gd name="T76" fmla="*/ 114 w 692"/>
                  <a:gd name="T77" fmla="*/ 148 h 382"/>
                  <a:gd name="T78" fmla="*/ 70 w 692"/>
                  <a:gd name="T79" fmla="*/ 108 h 382"/>
                  <a:gd name="T80" fmla="*/ 48 w 692"/>
                  <a:gd name="T81" fmla="*/ 28 h 382"/>
                  <a:gd name="T82" fmla="*/ 0 w 692"/>
                  <a:gd name="T83" fmla="*/ 4 h 382"/>
                  <a:gd name="T84" fmla="*/ 22 w 692"/>
                  <a:gd name="T85" fmla="*/ 134 h 382"/>
                  <a:gd name="T86" fmla="*/ 90 w 692"/>
                  <a:gd name="T87" fmla="*/ 228 h 382"/>
                  <a:gd name="T88" fmla="*/ 182 w 692"/>
                  <a:gd name="T89" fmla="*/ 298 h 382"/>
                  <a:gd name="T90" fmla="*/ 288 w 692"/>
                  <a:gd name="T91" fmla="*/ 336 h 382"/>
                  <a:gd name="T92" fmla="*/ 370 w 692"/>
                  <a:gd name="T93" fmla="*/ 340 h 382"/>
                  <a:gd name="T94" fmla="*/ 482 w 692"/>
                  <a:gd name="T95" fmla="*/ 310 h 382"/>
                  <a:gd name="T96" fmla="*/ 582 w 692"/>
                  <a:gd name="T97" fmla="*/ 244 h 382"/>
                  <a:gd name="T98" fmla="*/ 658 w 692"/>
                  <a:gd name="T99" fmla="*/ 150 h 382"/>
                  <a:gd name="T100" fmla="*/ 692 w 692"/>
                  <a:gd name="T101" fmla="*/ 5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2" h="382">
                    <a:moveTo>
                      <a:pt x="344" y="382"/>
                    </a:moveTo>
                    <a:lnTo>
                      <a:pt x="344" y="382"/>
                    </a:lnTo>
                    <a:lnTo>
                      <a:pt x="344" y="382"/>
                    </a:lnTo>
                    <a:lnTo>
                      <a:pt x="344" y="382"/>
                    </a:lnTo>
                    <a:lnTo>
                      <a:pt x="344" y="382"/>
                    </a:lnTo>
                    <a:close/>
                    <a:moveTo>
                      <a:pt x="346" y="382"/>
                    </a:move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close/>
                    <a:moveTo>
                      <a:pt x="346" y="382"/>
                    </a:move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close/>
                    <a:moveTo>
                      <a:pt x="348" y="382"/>
                    </a:move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close/>
                    <a:moveTo>
                      <a:pt x="348" y="382"/>
                    </a:move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close/>
                    <a:moveTo>
                      <a:pt x="350" y="382"/>
                    </a:move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close/>
                    <a:moveTo>
                      <a:pt x="350" y="382"/>
                    </a:move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close/>
                    <a:moveTo>
                      <a:pt x="352" y="382"/>
                    </a:moveTo>
                    <a:lnTo>
                      <a:pt x="352" y="382"/>
                    </a:lnTo>
                    <a:lnTo>
                      <a:pt x="350" y="382"/>
                    </a:lnTo>
                    <a:lnTo>
                      <a:pt x="350" y="382"/>
                    </a:lnTo>
                    <a:lnTo>
                      <a:pt x="352" y="382"/>
                    </a:lnTo>
                    <a:close/>
                    <a:moveTo>
                      <a:pt x="352" y="382"/>
                    </a:moveTo>
                    <a:lnTo>
                      <a:pt x="352" y="382"/>
                    </a:lnTo>
                    <a:lnTo>
                      <a:pt x="352" y="382"/>
                    </a:lnTo>
                    <a:lnTo>
                      <a:pt x="352" y="382"/>
                    </a:lnTo>
                    <a:lnTo>
                      <a:pt x="352" y="382"/>
                    </a:lnTo>
                    <a:close/>
                    <a:moveTo>
                      <a:pt x="354" y="382"/>
                    </a:moveTo>
                    <a:lnTo>
                      <a:pt x="354" y="382"/>
                    </a:lnTo>
                    <a:lnTo>
                      <a:pt x="352" y="382"/>
                    </a:lnTo>
                    <a:lnTo>
                      <a:pt x="352" y="382"/>
                    </a:lnTo>
                    <a:lnTo>
                      <a:pt x="354" y="382"/>
                    </a:lnTo>
                    <a:close/>
                    <a:moveTo>
                      <a:pt x="354" y="382"/>
                    </a:move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close/>
                    <a:moveTo>
                      <a:pt x="354" y="382"/>
                    </a:move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close/>
                    <a:moveTo>
                      <a:pt x="356" y="382"/>
                    </a:move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close/>
                    <a:moveTo>
                      <a:pt x="356" y="382"/>
                    </a:move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close/>
                    <a:moveTo>
                      <a:pt x="358" y="382"/>
                    </a:move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close/>
                    <a:moveTo>
                      <a:pt x="358" y="382"/>
                    </a:move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close/>
                    <a:moveTo>
                      <a:pt x="692" y="68"/>
                    </a:moveTo>
                    <a:lnTo>
                      <a:pt x="686" y="110"/>
                    </a:lnTo>
                    <a:lnTo>
                      <a:pt x="686" y="110"/>
                    </a:lnTo>
                    <a:lnTo>
                      <a:pt x="678" y="138"/>
                    </a:lnTo>
                    <a:lnTo>
                      <a:pt x="666" y="166"/>
                    </a:lnTo>
                    <a:lnTo>
                      <a:pt x="652" y="194"/>
                    </a:lnTo>
                    <a:lnTo>
                      <a:pt x="638" y="218"/>
                    </a:lnTo>
                    <a:lnTo>
                      <a:pt x="620" y="242"/>
                    </a:lnTo>
                    <a:lnTo>
                      <a:pt x="602" y="264"/>
                    </a:lnTo>
                    <a:lnTo>
                      <a:pt x="582" y="284"/>
                    </a:lnTo>
                    <a:lnTo>
                      <a:pt x="560" y="302"/>
                    </a:lnTo>
                    <a:lnTo>
                      <a:pt x="538" y="320"/>
                    </a:lnTo>
                    <a:lnTo>
                      <a:pt x="514" y="334"/>
                    </a:lnTo>
                    <a:lnTo>
                      <a:pt x="490" y="348"/>
                    </a:lnTo>
                    <a:lnTo>
                      <a:pt x="464" y="360"/>
                    </a:lnTo>
                    <a:lnTo>
                      <a:pt x="438" y="368"/>
                    </a:lnTo>
                    <a:lnTo>
                      <a:pt x="412" y="376"/>
                    </a:lnTo>
                    <a:lnTo>
                      <a:pt x="386" y="380"/>
                    </a:lnTo>
                    <a:lnTo>
                      <a:pt x="358" y="382"/>
                    </a:lnTo>
                    <a:lnTo>
                      <a:pt x="358" y="382"/>
                    </a:lnTo>
                    <a:lnTo>
                      <a:pt x="388" y="380"/>
                    </a:lnTo>
                    <a:lnTo>
                      <a:pt x="416" y="374"/>
                    </a:lnTo>
                    <a:lnTo>
                      <a:pt x="442" y="366"/>
                    </a:lnTo>
                    <a:lnTo>
                      <a:pt x="470" y="356"/>
                    </a:lnTo>
                    <a:lnTo>
                      <a:pt x="496" y="344"/>
                    </a:lnTo>
                    <a:lnTo>
                      <a:pt x="522" y="330"/>
                    </a:lnTo>
                    <a:lnTo>
                      <a:pt x="546" y="314"/>
                    </a:lnTo>
                    <a:lnTo>
                      <a:pt x="570" y="296"/>
                    </a:lnTo>
                    <a:lnTo>
                      <a:pt x="592" y="274"/>
                    </a:lnTo>
                    <a:lnTo>
                      <a:pt x="612" y="252"/>
                    </a:lnTo>
                    <a:lnTo>
                      <a:pt x="630" y="228"/>
                    </a:lnTo>
                    <a:lnTo>
                      <a:pt x="646" y="204"/>
                    </a:lnTo>
                    <a:lnTo>
                      <a:pt x="662" y="176"/>
                    </a:lnTo>
                    <a:lnTo>
                      <a:pt x="674" y="146"/>
                    </a:lnTo>
                    <a:lnTo>
                      <a:pt x="684" y="116"/>
                    </a:lnTo>
                    <a:lnTo>
                      <a:pt x="692" y="86"/>
                    </a:lnTo>
                    <a:lnTo>
                      <a:pt x="692" y="68"/>
                    </a:lnTo>
                    <a:close/>
                    <a:moveTo>
                      <a:pt x="692" y="0"/>
                    </a:moveTo>
                    <a:lnTo>
                      <a:pt x="692" y="0"/>
                    </a:lnTo>
                    <a:lnTo>
                      <a:pt x="690" y="4"/>
                    </a:lnTo>
                    <a:lnTo>
                      <a:pt x="690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6" y="28"/>
                    </a:lnTo>
                    <a:lnTo>
                      <a:pt x="640" y="52"/>
                    </a:lnTo>
                    <a:lnTo>
                      <a:pt x="630" y="80"/>
                    </a:lnTo>
                    <a:lnTo>
                      <a:pt x="624" y="94"/>
                    </a:lnTo>
                    <a:lnTo>
                      <a:pt x="618" y="108"/>
                    </a:lnTo>
                    <a:lnTo>
                      <a:pt x="608" y="120"/>
                    </a:lnTo>
                    <a:lnTo>
                      <a:pt x="598" y="132"/>
                    </a:lnTo>
                    <a:lnTo>
                      <a:pt x="586" y="142"/>
                    </a:lnTo>
                    <a:lnTo>
                      <a:pt x="572" y="148"/>
                    </a:lnTo>
                    <a:lnTo>
                      <a:pt x="556" y="154"/>
                    </a:lnTo>
                    <a:lnTo>
                      <a:pt x="538" y="156"/>
                    </a:lnTo>
                    <a:lnTo>
                      <a:pt x="538" y="156"/>
                    </a:lnTo>
                    <a:lnTo>
                      <a:pt x="520" y="138"/>
                    </a:lnTo>
                    <a:lnTo>
                      <a:pt x="500" y="122"/>
                    </a:lnTo>
                    <a:lnTo>
                      <a:pt x="476" y="108"/>
                    </a:lnTo>
                    <a:lnTo>
                      <a:pt x="450" y="98"/>
                    </a:lnTo>
                    <a:lnTo>
                      <a:pt x="424" y="90"/>
                    </a:lnTo>
                    <a:lnTo>
                      <a:pt x="396" y="84"/>
                    </a:lnTo>
                    <a:lnTo>
                      <a:pt x="368" y="80"/>
                    </a:lnTo>
                    <a:lnTo>
                      <a:pt x="338" y="78"/>
                    </a:lnTo>
                    <a:lnTo>
                      <a:pt x="338" y="78"/>
                    </a:lnTo>
                    <a:lnTo>
                      <a:pt x="310" y="80"/>
                    </a:lnTo>
                    <a:lnTo>
                      <a:pt x="282" y="84"/>
                    </a:lnTo>
                    <a:lnTo>
                      <a:pt x="256" y="90"/>
                    </a:lnTo>
                    <a:lnTo>
                      <a:pt x="230" y="98"/>
                    </a:lnTo>
                    <a:lnTo>
                      <a:pt x="206" y="108"/>
                    </a:lnTo>
                    <a:lnTo>
                      <a:pt x="184" y="122"/>
                    </a:lnTo>
                    <a:lnTo>
                      <a:pt x="166" y="138"/>
                    </a:lnTo>
                    <a:lnTo>
                      <a:pt x="152" y="154"/>
                    </a:lnTo>
                    <a:lnTo>
                      <a:pt x="152" y="154"/>
                    </a:lnTo>
                    <a:lnTo>
                      <a:pt x="132" y="154"/>
                    </a:lnTo>
                    <a:lnTo>
                      <a:pt x="114" y="148"/>
                    </a:lnTo>
                    <a:lnTo>
                      <a:pt x="100" y="140"/>
                    </a:lnTo>
                    <a:lnTo>
                      <a:pt x="88" y="132"/>
                    </a:lnTo>
                    <a:lnTo>
                      <a:pt x="78" y="120"/>
                    </a:lnTo>
                    <a:lnTo>
                      <a:pt x="70" y="108"/>
                    </a:lnTo>
                    <a:lnTo>
                      <a:pt x="62" y="94"/>
                    </a:lnTo>
                    <a:lnTo>
                      <a:pt x="58" y="80"/>
                    </a:lnTo>
                    <a:lnTo>
                      <a:pt x="50" y="52"/>
                    </a:lnTo>
                    <a:lnTo>
                      <a:pt x="48" y="2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0" y="4"/>
                    </a:lnTo>
                    <a:lnTo>
                      <a:pt x="2" y="80"/>
                    </a:lnTo>
                    <a:lnTo>
                      <a:pt x="2" y="80"/>
                    </a:lnTo>
                    <a:lnTo>
                      <a:pt x="10" y="108"/>
                    </a:lnTo>
                    <a:lnTo>
                      <a:pt x="22" y="134"/>
                    </a:lnTo>
                    <a:lnTo>
                      <a:pt x="36" y="158"/>
                    </a:lnTo>
                    <a:lnTo>
                      <a:pt x="52" y="182"/>
                    </a:lnTo>
                    <a:lnTo>
                      <a:pt x="70" y="206"/>
                    </a:lnTo>
                    <a:lnTo>
                      <a:pt x="90" y="228"/>
                    </a:lnTo>
                    <a:lnTo>
                      <a:pt x="110" y="248"/>
                    </a:lnTo>
                    <a:lnTo>
                      <a:pt x="132" y="266"/>
                    </a:lnTo>
                    <a:lnTo>
                      <a:pt x="156" y="282"/>
                    </a:lnTo>
                    <a:lnTo>
                      <a:pt x="182" y="298"/>
                    </a:lnTo>
                    <a:lnTo>
                      <a:pt x="206" y="310"/>
                    </a:lnTo>
                    <a:lnTo>
                      <a:pt x="234" y="320"/>
                    </a:lnTo>
                    <a:lnTo>
                      <a:pt x="260" y="330"/>
                    </a:lnTo>
                    <a:lnTo>
                      <a:pt x="288" y="336"/>
                    </a:lnTo>
                    <a:lnTo>
                      <a:pt x="314" y="340"/>
                    </a:lnTo>
                    <a:lnTo>
                      <a:pt x="342" y="342"/>
                    </a:lnTo>
                    <a:lnTo>
                      <a:pt x="342" y="342"/>
                    </a:lnTo>
                    <a:lnTo>
                      <a:pt x="370" y="340"/>
                    </a:lnTo>
                    <a:lnTo>
                      <a:pt x="398" y="336"/>
                    </a:lnTo>
                    <a:lnTo>
                      <a:pt x="426" y="330"/>
                    </a:lnTo>
                    <a:lnTo>
                      <a:pt x="454" y="320"/>
                    </a:lnTo>
                    <a:lnTo>
                      <a:pt x="482" y="310"/>
                    </a:lnTo>
                    <a:lnTo>
                      <a:pt x="508" y="296"/>
                    </a:lnTo>
                    <a:lnTo>
                      <a:pt x="534" y="282"/>
                    </a:lnTo>
                    <a:lnTo>
                      <a:pt x="560" y="264"/>
                    </a:lnTo>
                    <a:lnTo>
                      <a:pt x="582" y="244"/>
                    </a:lnTo>
                    <a:lnTo>
                      <a:pt x="604" y="224"/>
                    </a:lnTo>
                    <a:lnTo>
                      <a:pt x="624" y="200"/>
                    </a:lnTo>
                    <a:lnTo>
                      <a:pt x="642" y="176"/>
                    </a:lnTo>
                    <a:lnTo>
                      <a:pt x="658" y="150"/>
                    </a:lnTo>
                    <a:lnTo>
                      <a:pt x="672" y="122"/>
                    </a:lnTo>
                    <a:lnTo>
                      <a:pt x="684" y="92"/>
                    </a:lnTo>
                    <a:lnTo>
                      <a:pt x="692" y="62"/>
                    </a:lnTo>
                    <a:lnTo>
                      <a:pt x="692" y="50"/>
                    </a:lnTo>
                    <a:lnTo>
                      <a:pt x="692" y="34"/>
                    </a:lnTo>
                    <a:lnTo>
                      <a:pt x="692" y="0"/>
                    </a:lnTo>
                    <a:close/>
                  </a:path>
                </a:pathLst>
              </a:custGeom>
              <a:solidFill>
                <a:srgbClr val="B17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Rectangle 1980"/>
              <p:cNvSpPr>
                <a:spLocks noChangeArrowheads="1"/>
              </p:cNvSpPr>
              <p:nvPr/>
            </p:nvSpPr>
            <p:spPr bwMode="auto">
              <a:xfrm>
                <a:off x="116967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Rectangle 1981"/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Rectangle 1982"/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Rectangle 1983"/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Rectangle 1984"/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Rectangle 1985"/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Rectangle 1986"/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Rectangle 1987"/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Rectangle 1988"/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Rectangle 1989"/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Rectangle 1990"/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Rectangle 1991"/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Rectangle 1992"/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Rectangle 1993"/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Rectangle 1994"/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Rectangle 1995"/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996"/>
              <p:cNvSpPr>
                <a:spLocks/>
              </p:cNvSpPr>
              <p:nvPr/>
            </p:nvSpPr>
            <p:spPr bwMode="auto">
              <a:xfrm>
                <a:off x="11718926" y="1858194"/>
                <a:ext cx="530225" cy="498475"/>
              </a:xfrm>
              <a:custGeom>
                <a:avLst/>
                <a:gdLst>
                  <a:gd name="T0" fmla="*/ 334 w 334"/>
                  <a:gd name="T1" fmla="*/ 0 h 314"/>
                  <a:gd name="T2" fmla="*/ 328 w 334"/>
                  <a:gd name="T3" fmla="*/ 42 h 314"/>
                  <a:gd name="T4" fmla="*/ 328 w 334"/>
                  <a:gd name="T5" fmla="*/ 42 h 314"/>
                  <a:gd name="T6" fmla="*/ 320 w 334"/>
                  <a:gd name="T7" fmla="*/ 70 h 314"/>
                  <a:gd name="T8" fmla="*/ 308 w 334"/>
                  <a:gd name="T9" fmla="*/ 98 h 314"/>
                  <a:gd name="T10" fmla="*/ 294 w 334"/>
                  <a:gd name="T11" fmla="*/ 126 h 314"/>
                  <a:gd name="T12" fmla="*/ 280 w 334"/>
                  <a:gd name="T13" fmla="*/ 150 h 314"/>
                  <a:gd name="T14" fmla="*/ 262 w 334"/>
                  <a:gd name="T15" fmla="*/ 174 h 314"/>
                  <a:gd name="T16" fmla="*/ 244 w 334"/>
                  <a:gd name="T17" fmla="*/ 196 h 314"/>
                  <a:gd name="T18" fmla="*/ 224 w 334"/>
                  <a:gd name="T19" fmla="*/ 216 h 314"/>
                  <a:gd name="T20" fmla="*/ 202 w 334"/>
                  <a:gd name="T21" fmla="*/ 234 h 314"/>
                  <a:gd name="T22" fmla="*/ 180 w 334"/>
                  <a:gd name="T23" fmla="*/ 252 h 314"/>
                  <a:gd name="T24" fmla="*/ 156 w 334"/>
                  <a:gd name="T25" fmla="*/ 266 h 314"/>
                  <a:gd name="T26" fmla="*/ 132 w 334"/>
                  <a:gd name="T27" fmla="*/ 280 h 314"/>
                  <a:gd name="T28" fmla="*/ 106 w 334"/>
                  <a:gd name="T29" fmla="*/ 292 h 314"/>
                  <a:gd name="T30" fmla="*/ 80 w 334"/>
                  <a:gd name="T31" fmla="*/ 300 h 314"/>
                  <a:gd name="T32" fmla="*/ 54 w 334"/>
                  <a:gd name="T33" fmla="*/ 308 h 314"/>
                  <a:gd name="T34" fmla="*/ 28 w 334"/>
                  <a:gd name="T35" fmla="*/ 312 h 314"/>
                  <a:gd name="T36" fmla="*/ 0 w 334"/>
                  <a:gd name="T37" fmla="*/ 314 h 314"/>
                  <a:gd name="T38" fmla="*/ 0 w 334"/>
                  <a:gd name="T39" fmla="*/ 314 h 314"/>
                  <a:gd name="T40" fmla="*/ 30 w 334"/>
                  <a:gd name="T41" fmla="*/ 312 h 314"/>
                  <a:gd name="T42" fmla="*/ 58 w 334"/>
                  <a:gd name="T43" fmla="*/ 306 h 314"/>
                  <a:gd name="T44" fmla="*/ 84 w 334"/>
                  <a:gd name="T45" fmla="*/ 298 h 314"/>
                  <a:gd name="T46" fmla="*/ 112 w 334"/>
                  <a:gd name="T47" fmla="*/ 288 h 314"/>
                  <a:gd name="T48" fmla="*/ 138 w 334"/>
                  <a:gd name="T49" fmla="*/ 276 h 314"/>
                  <a:gd name="T50" fmla="*/ 164 w 334"/>
                  <a:gd name="T51" fmla="*/ 262 h 314"/>
                  <a:gd name="T52" fmla="*/ 188 w 334"/>
                  <a:gd name="T53" fmla="*/ 246 h 314"/>
                  <a:gd name="T54" fmla="*/ 212 w 334"/>
                  <a:gd name="T55" fmla="*/ 228 h 314"/>
                  <a:gd name="T56" fmla="*/ 234 w 334"/>
                  <a:gd name="T57" fmla="*/ 206 h 314"/>
                  <a:gd name="T58" fmla="*/ 254 w 334"/>
                  <a:gd name="T59" fmla="*/ 184 h 314"/>
                  <a:gd name="T60" fmla="*/ 272 w 334"/>
                  <a:gd name="T61" fmla="*/ 160 h 314"/>
                  <a:gd name="T62" fmla="*/ 288 w 334"/>
                  <a:gd name="T63" fmla="*/ 136 h 314"/>
                  <a:gd name="T64" fmla="*/ 304 w 334"/>
                  <a:gd name="T65" fmla="*/ 108 h 314"/>
                  <a:gd name="T66" fmla="*/ 316 w 334"/>
                  <a:gd name="T67" fmla="*/ 78 h 314"/>
                  <a:gd name="T68" fmla="*/ 326 w 334"/>
                  <a:gd name="T69" fmla="*/ 48 h 314"/>
                  <a:gd name="T70" fmla="*/ 334 w 334"/>
                  <a:gd name="T71" fmla="*/ 18 h 314"/>
                  <a:gd name="T72" fmla="*/ 334 w 334"/>
                  <a:gd name="T73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4" h="314">
                    <a:moveTo>
                      <a:pt x="334" y="0"/>
                    </a:moveTo>
                    <a:lnTo>
                      <a:pt x="328" y="42"/>
                    </a:lnTo>
                    <a:lnTo>
                      <a:pt x="328" y="42"/>
                    </a:lnTo>
                    <a:lnTo>
                      <a:pt x="320" y="70"/>
                    </a:lnTo>
                    <a:lnTo>
                      <a:pt x="308" y="98"/>
                    </a:lnTo>
                    <a:lnTo>
                      <a:pt x="294" y="126"/>
                    </a:lnTo>
                    <a:lnTo>
                      <a:pt x="280" y="150"/>
                    </a:lnTo>
                    <a:lnTo>
                      <a:pt x="262" y="174"/>
                    </a:lnTo>
                    <a:lnTo>
                      <a:pt x="244" y="196"/>
                    </a:lnTo>
                    <a:lnTo>
                      <a:pt x="224" y="216"/>
                    </a:lnTo>
                    <a:lnTo>
                      <a:pt x="202" y="234"/>
                    </a:lnTo>
                    <a:lnTo>
                      <a:pt x="180" y="252"/>
                    </a:lnTo>
                    <a:lnTo>
                      <a:pt x="156" y="266"/>
                    </a:lnTo>
                    <a:lnTo>
                      <a:pt x="132" y="280"/>
                    </a:lnTo>
                    <a:lnTo>
                      <a:pt x="106" y="292"/>
                    </a:lnTo>
                    <a:lnTo>
                      <a:pt x="80" y="300"/>
                    </a:lnTo>
                    <a:lnTo>
                      <a:pt x="54" y="308"/>
                    </a:lnTo>
                    <a:lnTo>
                      <a:pt x="28" y="312"/>
                    </a:lnTo>
                    <a:lnTo>
                      <a:pt x="0" y="314"/>
                    </a:lnTo>
                    <a:lnTo>
                      <a:pt x="0" y="314"/>
                    </a:lnTo>
                    <a:lnTo>
                      <a:pt x="30" y="312"/>
                    </a:lnTo>
                    <a:lnTo>
                      <a:pt x="58" y="306"/>
                    </a:lnTo>
                    <a:lnTo>
                      <a:pt x="84" y="298"/>
                    </a:lnTo>
                    <a:lnTo>
                      <a:pt x="112" y="288"/>
                    </a:lnTo>
                    <a:lnTo>
                      <a:pt x="138" y="276"/>
                    </a:lnTo>
                    <a:lnTo>
                      <a:pt x="164" y="262"/>
                    </a:lnTo>
                    <a:lnTo>
                      <a:pt x="188" y="246"/>
                    </a:lnTo>
                    <a:lnTo>
                      <a:pt x="212" y="228"/>
                    </a:lnTo>
                    <a:lnTo>
                      <a:pt x="234" y="206"/>
                    </a:lnTo>
                    <a:lnTo>
                      <a:pt x="254" y="184"/>
                    </a:lnTo>
                    <a:lnTo>
                      <a:pt x="272" y="160"/>
                    </a:lnTo>
                    <a:lnTo>
                      <a:pt x="288" y="136"/>
                    </a:lnTo>
                    <a:lnTo>
                      <a:pt x="304" y="108"/>
                    </a:lnTo>
                    <a:lnTo>
                      <a:pt x="316" y="78"/>
                    </a:lnTo>
                    <a:lnTo>
                      <a:pt x="326" y="48"/>
                    </a:lnTo>
                    <a:lnTo>
                      <a:pt x="334" y="18"/>
                    </a:lnTo>
                    <a:lnTo>
                      <a:pt x="33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997"/>
              <p:cNvSpPr>
                <a:spLocks/>
              </p:cNvSpPr>
              <p:nvPr/>
            </p:nvSpPr>
            <p:spPr bwMode="auto">
              <a:xfrm>
                <a:off x="11150601" y="1750244"/>
                <a:ext cx="1098550" cy="542925"/>
              </a:xfrm>
              <a:custGeom>
                <a:avLst/>
                <a:gdLst>
                  <a:gd name="T0" fmla="*/ 692 w 692"/>
                  <a:gd name="T1" fmla="*/ 0 h 342"/>
                  <a:gd name="T2" fmla="*/ 690 w 692"/>
                  <a:gd name="T3" fmla="*/ 4 h 342"/>
                  <a:gd name="T4" fmla="*/ 648 w 692"/>
                  <a:gd name="T5" fmla="*/ 4 h 342"/>
                  <a:gd name="T6" fmla="*/ 646 w 692"/>
                  <a:gd name="T7" fmla="*/ 28 h 342"/>
                  <a:gd name="T8" fmla="*/ 630 w 692"/>
                  <a:gd name="T9" fmla="*/ 80 h 342"/>
                  <a:gd name="T10" fmla="*/ 618 w 692"/>
                  <a:gd name="T11" fmla="*/ 108 h 342"/>
                  <a:gd name="T12" fmla="*/ 598 w 692"/>
                  <a:gd name="T13" fmla="*/ 132 h 342"/>
                  <a:gd name="T14" fmla="*/ 572 w 692"/>
                  <a:gd name="T15" fmla="*/ 148 h 342"/>
                  <a:gd name="T16" fmla="*/ 538 w 692"/>
                  <a:gd name="T17" fmla="*/ 156 h 342"/>
                  <a:gd name="T18" fmla="*/ 520 w 692"/>
                  <a:gd name="T19" fmla="*/ 138 h 342"/>
                  <a:gd name="T20" fmla="*/ 476 w 692"/>
                  <a:gd name="T21" fmla="*/ 108 h 342"/>
                  <a:gd name="T22" fmla="*/ 424 w 692"/>
                  <a:gd name="T23" fmla="*/ 90 h 342"/>
                  <a:gd name="T24" fmla="*/ 368 w 692"/>
                  <a:gd name="T25" fmla="*/ 80 h 342"/>
                  <a:gd name="T26" fmla="*/ 338 w 692"/>
                  <a:gd name="T27" fmla="*/ 78 h 342"/>
                  <a:gd name="T28" fmla="*/ 282 w 692"/>
                  <a:gd name="T29" fmla="*/ 84 h 342"/>
                  <a:gd name="T30" fmla="*/ 230 w 692"/>
                  <a:gd name="T31" fmla="*/ 98 h 342"/>
                  <a:gd name="T32" fmla="*/ 184 w 692"/>
                  <a:gd name="T33" fmla="*/ 122 h 342"/>
                  <a:gd name="T34" fmla="*/ 152 w 692"/>
                  <a:gd name="T35" fmla="*/ 154 h 342"/>
                  <a:gd name="T36" fmla="*/ 132 w 692"/>
                  <a:gd name="T37" fmla="*/ 154 h 342"/>
                  <a:gd name="T38" fmla="*/ 100 w 692"/>
                  <a:gd name="T39" fmla="*/ 140 h 342"/>
                  <a:gd name="T40" fmla="*/ 78 w 692"/>
                  <a:gd name="T41" fmla="*/ 120 h 342"/>
                  <a:gd name="T42" fmla="*/ 62 w 692"/>
                  <a:gd name="T43" fmla="*/ 94 h 342"/>
                  <a:gd name="T44" fmla="*/ 50 w 692"/>
                  <a:gd name="T45" fmla="*/ 52 h 342"/>
                  <a:gd name="T46" fmla="*/ 46 w 692"/>
                  <a:gd name="T47" fmla="*/ 4 h 342"/>
                  <a:gd name="T48" fmla="*/ 46 w 692"/>
                  <a:gd name="T49" fmla="*/ 4 h 342"/>
                  <a:gd name="T50" fmla="*/ 2 w 692"/>
                  <a:gd name="T51" fmla="*/ 80 h 342"/>
                  <a:gd name="T52" fmla="*/ 10 w 692"/>
                  <a:gd name="T53" fmla="*/ 108 h 342"/>
                  <a:gd name="T54" fmla="*/ 36 w 692"/>
                  <a:gd name="T55" fmla="*/ 158 h 342"/>
                  <a:gd name="T56" fmla="*/ 70 w 692"/>
                  <a:gd name="T57" fmla="*/ 206 h 342"/>
                  <a:gd name="T58" fmla="*/ 110 w 692"/>
                  <a:gd name="T59" fmla="*/ 248 h 342"/>
                  <a:gd name="T60" fmla="*/ 156 w 692"/>
                  <a:gd name="T61" fmla="*/ 282 h 342"/>
                  <a:gd name="T62" fmla="*/ 206 w 692"/>
                  <a:gd name="T63" fmla="*/ 310 h 342"/>
                  <a:gd name="T64" fmla="*/ 260 w 692"/>
                  <a:gd name="T65" fmla="*/ 330 h 342"/>
                  <a:gd name="T66" fmla="*/ 314 w 692"/>
                  <a:gd name="T67" fmla="*/ 340 h 342"/>
                  <a:gd name="T68" fmla="*/ 342 w 692"/>
                  <a:gd name="T69" fmla="*/ 342 h 342"/>
                  <a:gd name="T70" fmla="*/ 398 w 692"/>
                  <a:gd name="T71" fmla="*/ 336 h 342"/>
                  <a:gd name="T72" fmla="*/ 454 w 692"/>
                  <a:gd name="T73" fmla="*/ 320 h 342"/>
                  <a:gd name="T74" fmla="*/ 508 w 692"/>
                  <a:gd name="T75" fmla="*/ 296 h 342"/>
                  <a:gd name="T76" fmla="*/ 560 w 692"/>
                  <a:gd name="T77" fmla="*/ 264 h 342"/>
                  <a:gd name="T78" fmla="*/ 604 w 692"/>
                  <a:gd name="T79" fmla="*/ 224 h 342"/>
                  <a:gd name="T80" fmla="*/ 642 w 692"/>
                  <a:gd name="T81" fmla="*/ 176 h 342"/>
                  <a:gd name="T82" fmla="*/ 672 w 692"/>
                  <a:gd name="T83" fmla="*/ 122 h 342"/>
                  <a:gd name="T84" fmla="*/ 692 w 692"/>
                  <a:gd name="T85" fmla="*/ 62 h 342"/>
                  <a:gd name="T86" fmla="*/ 692 w 692"/>
                  <a:gd name="T87" fmla="*/ 34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92" h="342">
                    <a:moveTo>
                      <a:pt x="692" y="0"/>
                    </a:moveTo>
                    <a:lnTo>
                      <a:pt x="692" y="0"/>
                    </a:lnTo>
                    <a:lnTo>
                      <a:pt x="690" y="4"/>
                    </a:lnTo>
                    <a:lnTo>
                      <a:pt x="690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6" y="28"/>
                    </a:lnTo>
                    <a:lnTo>
                      <a:pt x="640" y="52"/>
                    </a:lnTo>
                    <a:lnTo>
                      <a:pt x="630" y="80"/>
                    </a:lnTo>
                    <a:lnTo>
                      <a:pt x="624" y="94"/>
                    </a:lnTo>
                    <a:lnTo>
                      <a:pt x="618" y="108"/>
                    </a:lnTo>
                    <a:lnTo>
                      <a:pt x="608" y="120"/>
                    </a:lnTo>
                    <a:lnTo>
                      <a:pt x="598" y="132"/>
                    </a:lnTo>
                    <a:lnTo>
                      <a:pt x="586" y="142"/>
                    </a:lnTo>
                    <a:lnTo>
                      <a:pt x="572" y="148"/>
                    </a:lnTo>
                    <a:lnTo>
                      <a:pt x="556" y="154"/>
                    </a:lnTo>
                    <a:lnTo>
                      <a:pt x="538" y="156"/>
                    </a:lnTo>
                    <a:lnTo>
                      <a:pt x="538" y="156"/>
                    </a:lnTo>
                    <a:lnTo>
                      <a:pt x="520" y="138"/>
                    </a:lnTo>
                    <a:lnTo>
                      <a:pt x="500" y="122"/>
                    </a:lnTo>
                    <a:lnTo>
                      <a:pt x="476" y="108"/>
                    </a:lnTo>
                    <a:lnTo>
                      <a:pt x="450" y="98"/>
                    </a:lnTo>
                    <a:lnTo>
                      <a:pt x="424" y="90"/>
                    </a:lnTo>
                    <a:lnTo>
                      <a:pt x="396" y="84"/>
                    </a:lnTo>
                    <a:lnTo>
                      <a:pt x="368" y="80"/>
                    </a:lnTo>
                    <a:lnTo>
                      <a:pt x="338" y="78"/>
                    </a:lnTo>
                    <a:lnTo>
                      <a:pt x="338" y="78"/>
                    </a:lnTo>
                    <a:lnTo>
                      <a:pt x="310" y="80"/>
                    </a:lnTo>
                    <a:lnTo>
                      <a:pt x="282" y="84"/>
                    </a:lnTo>
                    <a:lnTo>
                      <a:pt x="256" y="90"/>
                    </a:lnTo>
                    <a:lnTo>
                      <a:pt x="230" y="98"/>
                    </a:lnTo>
                    <a:lnTo>
                      <a:pt x="206" y="108"/>
                    </a:lnTo>
                    <a:lnTo>
                      <a:pt x="184" y="122"/>
                    </a:lnTo>
                    <a:lnTo>
                      <a:pt x="166" y="138"/>
                    </a:lnTo>
                    <a:lnTo>
                      <a:pt x="152" y="154"/>
                    </a:lnTo>
                    <a:lnTo>
                      <a:pt x="152" y="154"/>
                    </a:lnTo>
                    <a:lnTo>
                      <a:pt x="132" y="154"/>
                    </a:lnTo>
                    <a:lnTo>
                      <a:pt x="114" y="148"/>
                    </a:lnTo>
                    <a:lnTo>
                      <a:pt x="100" y="140"/>
                    </a:lnTo>
                    <a:lnTo>
                      <a:pt x="88" y="132"/>
                    </a:lnTo>
                    <a:lnTo>
                      <a:pt x="78" y="120"/>
                    </a:lnTo>
                    <a:lnTo>
                      <a:pt x="70" y="108"/>
                    </a:lnTo>
                    <a:lnTo>
                      <a:pt x="62" y="94"/>
                    </a:lnTo>
                    <a:lnTo>
                      <a:pt x="58" y="80"/>
                    </a:lnTo>
                    <a:lnTo>
                      <a:pt x="50" y="52"/>
                    </a:lnTo>
                    <a:lnTo>
                      <a:pt x="48" y="2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0" y="4"/>
                    </a:lnTo>
                    <a:lnTo>
                      <a:pt x="2" y="80"/>
                    </a:lnTo>
                    <a:lnTo>
                      <a:pt x="2" y="80"/>
                    </a:lnTo>
                    <a:lnTo>
                      <a:pt x="10" y="108"/>
                    </a:lnTo>
                    <a:lnTo>
                      <a:pt x="22" y="134"/>
                    </a:lnTo>
                    <a:lnTo>
                      <a:pt x="36" y="158"/>
                    </a:lnTo>
                    <a:lnTo>
                      <a:pt x="52" y="182"/>
                    </a:lnTo>
                    <a:lnTo>
                      <a:pt x="70" y="206"/>
                    </a:lnTo>
                    <a:lnTo>
                      <a:pt x="90" y="228"/>
                    </a:lnTo>
                    <a:lnTo>
                      <a:pt x="110" y="248"/>
                    </a:lnTo>
                    <a:lnTo>
                      <a:pt x="132" y="266"/>
                    </a:lnTo>
                    <a:lnTo>
                      <a:pt x="156" y="282"/>
                    </a:lnTo>
                    <a:lnTo>
                      <a:pt x="182" y="298"/>
                    </a:lnTo>
                    <a:lnTo>
                      <a:pt x="206" y="310"/>
                    </a:lnTo>
                    <a:lnTo>
                      <a:pt x="234" y="320"/>
                    </a:lnTo>
                    <a:lnTo>
                      <a:pt x="260" y="330"/>
                    </a:lnTo>
                    <a:lnTo>
                      <a:pt x="288" y="336"/>
                    </a:lnTo>
                    <a:lnTo>
                      <a:pt x="314" y="340"/>
                    </a:lnTo>
                    <a:lnTo>
                      <a:pt x="342" y="342"/>
                    </a:lnTo>
                    <a:lnTo>
                      <a:pt x="342" y="342"/>
                    </a:lnTo>
                    <a:lnTo>
                      <a:pt x="370" y="340"/>
                    </a:lnTo>
                    <a:lnTo>
                      <a:pt x="398" y="336"/>
                    </a:lnTo>
                    <a:lnTo>
                      <a:pt x="426" y="330"/>
                    </a:lnTo>
                    <a:lnTo>
                      <a:pt x="454" y="320"/>
                    </a:lnTo>
                    <a:lnTo>
                      <a:pt x="482" y="310"/>
                    </a:lnTo>
                    <a:lnTo>
                      <a:pt x="508" y="296"/>
                    </a:lnTo>
                    <a:lnTo>
                      <a:pt x="534" y="282"/>
                    </a:lnTo>
                    <a:lnTo>
                      <a:pt x="560" y="264"/>
                    </a:lnTo>
                    <a:lnTo>
                      <a:pt x="582" y="244"/>
                    </a:lnTo>
                    <a:lnTo>
                      <a:pt x="604" y="224"/>
                    </a:lnTo>
                    <a:lnTo>
                      <a:pt x="624" y="200"/>
                    </a:lnTo>
                    <a:lnTo>
                      <a:pt x="642" y="176"/>
                    </a:lnTo>
                    <a:lnTo>
                      <a:pt x="658" y="150"/>
                    </a:lnTo>
                    <a:lnTo>
                      <a:pt x="672" y="122"/>
                    </a:lnTo>
                    <a:lnTo>
                      <a:pt x="684" y="92"/>
                    </a:lnTo>
                    <a:lnTo>
                      <a:pt x="692" y="62"/>
                    </a:lnTo>
                    <a:lnTo>
                      <a:pt x="692" y="50"/>
                    </a:lnTo>
                    <a:lnTo>
                      <a:pt x="692" y="34"/>
                    </a:lnTo>
                    <a:lnTo>
                      <a:pt x="69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998"/>
              <p:cNvSpPr>
                <a:spLocks/>
              </p:cNvSpPr>
              <p:nvPr/>
            </p:nvSpPr>
            <p:spPr bwMode="auto">
              <a:xfrm>
                <a:off x="11153776" y="1848669"/>
                <a:ext cx="1095375" cy="508000"/>
              </a:xfrm>
              <a:custGeom>
                <a:avLst/>
                <a:gdLst>
                  <a:gd name="T0" fmla="*/ 682 w 690"/>
                  <a:gd name="T1" fmla="*/ 30 h 320"/>
                  <a:gd name="T2" fmla="*/ 640 w 690"/>
                  <a:gd name="T3" fmla="*/ 114 h 320"/>
                  <a:gd name="T4" fmla="*/ 580 w 690"/>
                  <a:gd name="T5" fmla="*/ 182 h 320"/>
                  <a:gd name="T6" fmla="*/ 506 w 690"/>
                  <a:gd name="T7" fmla="*/ 234 h 320"/>
                  <a:gd name="T8" fmla="*/ 424 w 690"/>
                  <a:gd name="T9" fmla="*/ 268 h 320"/>
                  <a:gd name="T10" fmla="*/ 340 w 690"/>
                  <a:gd name="T11" fmla="*/ 280 h 320"/>
                  <a:gd name="T12" fmla="*/ 286 w 690"/>
                  <a:gd name="T13" fmla="*/ 274 h 320"/>
                  <a:gd name="T14" fmla="*/ 204 w 690"/>
                  <a:gd name="T15" fmla="*/ 248 h 320"/>
                  <a:gd name="T16" fmla="*/ 130 w 690"/>
                  <a:gd name="T17" fmla="*/ 204 h 320"/>
                  <a:gd name="T18" fmla="*/ 68 w 690"/>
                  <a:gd name="T19" fmla="*/ 144 h 320"/>
                  <a:gd name="T20" fmla="*/ 20 w 690"/>
                  <a:gd name="T21" fmla="*/ 72 h 320"/>
                  <a:gd name="T22" fmla="*/ 0 w 690"/>
                  <a:gd name="T23" fmla="*/ 22 h 320"/>
                  <a:gd name="T24" fmla="*/ 16 w 690"/>
                  <a:gd name="T25" fmla="*/ 82 h 320"/>
                  <a:gd name="T26" fmla="*/ 58 w 690"/>
                  <a:gd name="T27" fmla="*/ 164 h 320"/>
                  <a:gd name="T28" fmla="*/ 122 w 690"/>
                  <a:gd name="T29" fmla="*/ 232 h 320"/>
                  <a:gd name="T30" fmla="*/ 198 w 690"/>
                  <a:gd name="T31" fmla="*/ 284 h 320"/>
                  <a:gd name="T32" fmla="*/ 284 w 690"/>
                  <a:gd name="T33" fmla="*/ 314 h 320"/>
                  <a:gd name="T34" fmla="*/ 342 w 690"/>
                  <a:gd name="T35" fmla="*/ 320 h 320"/>
                  <a:gd name="T36" fmla="*/ 342 w 690"/>
                  <a:gd name="T37" fmla="*/ 320 h 320"/>
                  <a:gd name="T38" fmla="*/ 344 w 690"/>
                  <a:gd name="T39" fmla="*/ 320 h 320"/>
                  <a:gd name="T40" fmla="*/ 344 w 690"/>
                  <a:gd name="T41" fmla="*/ 320 h 320"/>
                  <a:gd name="T42" fmla="*/ 344 w 690"/>
                  <a:gd name="T43" fmla="*/ 320 h 320"/>
                  <a:gd name="T44" fmla="*/ 346 w 690"/>
                  <a:gd name="T45" fmla="*/ 320 h 320"/>
                  <a:gd name="T46" fmla="*/ 346 w 690"/>
                  <a:gd name="T47" fmla="*/ 320 h 320"/>
                  <a:gd name="T48" fmla="*/ 348 w 690"/>
                  <a:gd name="T49" fmla="*/ 320 h 320"/>
                  <a:gd name="T50" fmla="*/ 348 w 690"/>
                  <a:gd name="T51" fmla="*/ 320 h 320"/>
                  <a:gd name="T52" fmla="*/ 348 w 690"/>
                  <a:gd name="T53" fmla="*/ 320 h 320"/>
                  <a:gd name="T54" fmla="*/ 348 w 690"/>
                  <a:gd name="T55" fmla="*/ 320 h 320"/>
                  <a:gd name="T56" fmla="*/ 350 w 690"/>
                  <a:gd name="T57" fmla="*/ 320 h 320"/>
                  <a:gd name="T58" fmla="*/ 350 w 690"/>
                  <a:gd name="T59" fmla="*/ 320 h 320"/>
                  <a:gd name="T60" fmla="*/ 352 w 690"/>
                  <a:gd name="T61" fmla="*/ 320 h 320"/>
                  <a:gd name="T62" fmla="*/ 352 w 690"/>
                  <a:gd name="T63" fmla="*/ 320 h 320"/>
                  <a:gd name="T64" fmla="*/ 352 w 690"/>
                  <a:gd name="T65" fmla="*/ 320 h 320"/>
                  <a:gd name="T66" fmla="*/ 352 w 690"/>
                  <a:gd name="T67" fmla="*/ 320 h 320"/>
                  <a:gd name="T68" fmla="*/ 354 w 690"/>
                  <a:gd name="T69" fmla="*/ 320 h 320"/>
                  <a:gd name="T70" fmla="*/ 354 w 690"/>
                  <a:gd name="T71" fmla="*/ 320 h 320"/>
                  <a:gd name="T72" fmla="*/ 356 w 690"/>
                  <a:gd name="T73" fmla="*/ 320 h 320"/>
                  <a:gd name="T74" fmla="*/ 356 w 690"/>
                  <a:gd name="T75" fmla="*/ 320 h 320"/>
                  <a:gd name="T76" fmla="*/ 356 w 690"/>
                  <a:gd name="T77" fmla="*/ 320 h 320"/>
                  <a:gd name="T78" fmla="*/ 356 w 690"/>
                  <a:gd name="T79" fmla="*/ 320 h 320"/>
                  <a:gd name="T80" fmla="*/ 436 w 690"/>
                  <a:gd name="T81" fmla="*/ 306 h 320"/>
                  <a:gd name="T82" fmla="*/ 512 w 690"/>
                  <a:gd name="T83" fmla="*/ 272 h 320"/>
                  <a:gd name="T84" fmla="*/ 580 w 690"/>
                  <a:gd name="T85" fmla="*/ 222 h 320"/>
                  <a:gd name="T86" fmla="*/ 636 w 690"/>
                  <a:gd name="T87" fmla="*/ 156 h 320"/>
                  <a:gd name="T88" fmla="*/ 676 w 690"/>
                  <a:gd name="T89" fmla="*/ 76 h 320"/>
                  <a:gd name="T90" fmla="*/ 690 w 690"/>
                  <a:gd name="T9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90" h="320">
                    <a:moveTo>
                      <a:pt x="690" y="0"/>
                    </a:moveTo>
                    <a:lnTo>
                      <a:pt x="690" y="0"/>
                    </a:lnTo>
                    <a:lnTo>
                      <a:pt x="682" y="30"/>
                    </a:lnTo>
                    <a:lnTo>
                      <a:pt x="670" y="60"/>
                    </a:lnTo>
                    <a:lnTo>
                      <a:pt x="656" y="88"/>
                    </a:lnTo>
                    <a:lnTo>
                      <a:pt x="640" y="114"/>
                    </a:lnTo>
                    <a:lnTo>
                      <a:pt x="622" y="138"/>
                    </a:lnTo>
                    <a:lnTo>
                      <a:pt x="602" y="162"/>
                    </a:lnTo>
                    <a:lnTo>
                      <a:pt x="580" y="182"/>
                    </a:lnTo>
                    <a:lnTo>
                      <a:pt x="558" y="202"/>
                    </a:lnTo>
                    <a:lnTo>
                      <a:pt x="532" y="220"/>
                    </a:lnTo>
                    <a:lnTo>
                      <a:pt x="506" y="234"/>
                    </a:lnTo>
                    <a:lnTo>
                      <a:pt x="480" y="248"/>
                    </a:lnTo>
                    <a:lnTo>
                      <a:pt x="452" y="258"/>
                    </a:lnTo>
                    <a:lnTo>
                      <a:pt x="424" y="268"/>
                    </a:lnTo>
                    <a:lnTo>
                      <a:pt x="396" y="274"/>
                    </a:lnTo>
                    <a:lnTo>
                      <a:pt x="368" y="278"/>
                    </a:lnTo>
                    <a:lnTo>
                      <a:pt x="340" y="280"/>
                    </a:lnTo>
                    <a:lnTo>
                      <a:pt x="340" y="280"/>
                    </a:lnTo>
                    <a:lnTo>
                      <a:pt x="312" y="278"/>
                    </a:lnTo>
                    <a:lnTo>
                      <a:pt x="286" y="274"/>
                    </a:lnTo>
                    <a:lnTo>
                      <a:pt x="258" y="268"/>
                    </a:lnTo>
                    <a:lnTo>
                      <a:pt x="232" y="258"/>
                    </a:lnTo>
                    <a:lnTo>
                      <a:pt x="204" y="248"/>
                    </a:lnTo>
                    <a:lnTo>
                      <a:pt x="180" y="236"/>
                    </a:lnTo>
                    <a:lnTo>
                      <a:pt x="154" y="220"/>
                    </a:lnTo>
                    <a:lnTo>
                      <a:pt x="130" y="204"/>
                    </a:lnTo>
                    <a:lnTo>
                      <a:pt x="108" y="186"/>
                    </a:lnTo>
                    <a:lnTo>
                      <a:pt x="88" y="166"/>
                    </a:lnTo>
                    <a:lnTo>
                      <a:pt x="68" y="144"/>
                    </a:lnTo>
                    <a:lnTo>
                      <a:pt x="50" y="120"/>
                    </a:lnTo>
                    <a:lnTo>
                      <a:pt x="34" y="96"/>
                    </a:lnTo>
                    <a:lnTo>
                      <a:pt x="20" y="72"/>
                    </a:lnTo>
                    <a:lnTo>
                      <a:pt x="8" y="4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6" y="52"/>
                    </a:lnTo>
                    <a:lnTo>
                      <a:pt x="16" y="82"/>
                    </a:lnTo>
                    <a:lnTo>
                      <a:pt x="28" y="110"/>
                    </a:lnTo>
                    <a:lnTo>
                      <a:pt x="42" y="138"/>
                    </a:lnTo>
                    <a:lnTo>
                      <a:pt x="58" y="164"/>
                    </a:lnTo>
                    <a:lnTo>
                      <a:pt x="78" y="188"/>
                    </a:lnTo>
                    <a:lnTo>
                      <a:pt x="98" y="212"/>
                    </a:lnTo>
                    <a:lnTo>
                      <a:pt x="122" y="232"/>
                    </a:lnTo>
                    <a:lnTo>
                      <a:pt x="146" y="252"/>
                    </a:lnTo>
                    <a:lnTo>
                      <a:pt x="172" y="270"/>
                    </a:lnTo>
                    <a:lnTo>
                      <a:pt x="198" y="284"/>
                    </a:lnTo>
                    <a:lnTo>
                      <a:pt x="226" y="298"/>
                    </a:lnTo>
                    <a:lnTo>
                      <a:pt x="254" y="308"/>
                    </a:lnTo>
                    <a:lnTo>
                      <a:pt x="284" y="314"/>
                    </a:lnTo>
                    <a:lnTo>
                      <a:pt x="31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84" y="318"/>
                    </a:lnTo>
                    <a:lnTo>
                      <a:pt x="410" y="314"/>
                    </a:lnTo>
                    <a:lnTo>
                      <a:pt x="436" y="306"/>
                    </a:lnTo>
                    <a:lnTo>
                      <a:pt x="462" y="298"/>
                    </a:lnTo>
                    <a:lnTo>
                      <a:pt x="488" y="286"/>
                    </a:lnTo>
                    <a:lnTo>
                      <a:pt x="512" y="272"/>
                    </a:lnTo>
                    <a:lnTo>
                      <a:pt x="536" y="258"/>
                    </a:lnTo>
                    <a:lnTo>
                      <a:pt x="558" y="240"/>
                    </a:lnTo>
                    <a:lnTo>
                      <a:pt x="580" y="222"/>
                    </a:lnTo>
                    <a:lnTo>
                      <a:pt x="600" y="202"/>
                    </a:lnTo>
                    <a:lnTo>
                      <a:pt x="618" y="180"/>
                    </a:lnTo>
                    <a:lnTo>
                      <a:pt x="636" y="156"/>
                    </a:lnTo>
                    <a:lnTo>
                      <a:pt x="650" y="132"/>
                    </a:lnTo>
                    <a:lnTo>
                      <a:pt x="664" y="104"/>
                    </a:lnTo>
                    <a:lnTo>
                      <a:pt x="676" y="76"/>
                    </a:lnTo>
                    <a:lnTo>
                      <a:pt x="684" y="48"/>
                    </a:lnTo>
                    <a:lnTo>
                      <a:pt x="690" y="6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9B6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999"/>
              <p:cNvSpPr>
                <a:spLocks/>
              </p:cNvSpPr>
              <p:nvPr/>
            </p:nvSpPr>
            <p:spPr bwMode="auto">
              <a:xfrm>
                <a:off x="11153776" y="1848669"/>
                <a:ext cx="1095375" cy="508000"/>
              </a:xfrm>
              <a:custGeom>
                <a:avLst/>
                <a:gdLst>
                  <a:gd name="T0" fmla="*/ 682 w 690"/>
                  <a:gd name="T1" fmla="*/ 30 h 320"/>
                  <a:gd name="T2" fmla="*/ 640 w 690"/>
                  <a:gd name="T3" fmla="*/ 114 h 320"/>
                  <a:gd name="T4" fmla="*/ 580 w 690"/>
                  <a:gd name="T5" fmla="*/ 182 h 320"/>
                  <a:gd name="T6" fmla="*/ 506 w 690"/>
                  <a:gd name="T7" fmla="*/ 234 h 320"/>
                  <a:gd name="T8" fmla="*/ 424 w 690"/>
                  <a:gd name="T9" fmla="*/ 268 h 320"/>
                  <a:gd name="T10" fmla="*/ 340 w 690"/>
                  <a:gd name="T11" fmla="*/ 280 h 320"/>
                  <a:gd name="T12" fmla="*/ 286 w 690"/>
                  <a:gd name="T13" fmla="*/ 274 h 320"/>
                  <a:gd name="T14" fmla="*/ 204 w 690"/>
                  <a:gd name="T15" fmla="*/ 248 h 320"/>
                  <a:gd name="T16" fmla="*/ 130 w 690"/>
                  <a:gd name="T17" fmla="*/ 204 h 320"/>
                  <a:gd name="T18" fmla="*/ 68 w 690"/>
                  <a:gd name="T19" fmla="*/ 144 h 320"/>
                  <a:gd name="T20" fmla="*/ 20 w 690"/>
                  <a:gd name="T21" fmla="*/ 72 h 320"/>
                  <a:gd name="T22" fmla="*/ 0 w 690"/>
                  <a:gd name="T23" fmla="*/ 22 h 320"/>
                  <a:gd name="T24" fmla="*/ 16 w 690"/>
                  <a:gd name="T25" fmla="*/ 82 h 320"/>
                  <a:gd name="T26" fmla="*/ 58 w 690"/>
                  <a:gd name="T27" fmla="*/ 164 h 320"/>
                  <a:gd name="T28" fmla="*/ 122 w 690"/>
                  <a:gd name="T29" fmla="*/ 232 h 320"/>
                  <a:gd name="T30" fmla="*/ 198 w 690"/>
                  <a:gd name="T31" fmla="*/ 284 h 320"/>
                  <a:gd name="T32" fmla="*/ 284 w 690"/>
                  <a:gd name="T33" fmla="*/ 314 h 320"/>
                  <a:gd name="T34" fmla="*/ 342 w 690"/>
                  <a:gd name="T35" fmla="*/ 320 h 320"/>
                  <a:gd name="T36" fmla="*/ 342 w 690"/>
                  <a:gd name="T37" fmla="*/ 320 h 320"/>
                  <a:gd name="T38" fmla="*/ 344 w 690"/>
                  <a:gd name="T39" fmla="*/ 320 h 320"/>
                  <a:gd name="T40" fmla="*/ 344 w 690"/>
                  <a:gd name="T41" fmla="*/ 320 h 320"/>
                  <a:gd name="T42" fmla="*/ 344 w 690"/>
                  <a:gd name="T43" fmla="*/ 320 h 320"/>
                  <a:gd name="T44" fmla="*/ 346 w 690"/>
                  <a:gd name="T45" fmla="*/ 320 h 320"/>
                  <a:gd name="T46" fmla="*/ 346 w 690"/>
                  <a:gd name="T47" fmla="*/ 320 h 320"/>
                  <a:gd name="T48" fmla="*/ 348 w 690"/>
                  <a:gd name="T49" fmla="*/ 320 h 320"/>
                  <a:gd name="T50" fmla="*/ 348 w 690"/>
                  <a:gd name="T51" fmla="*/ 320 h 320"/>
                  <a:gd name="T52" fmla="*/ 348 w 690"/>
                  <a:gd name="T53" fmla="*/ 320 h 320"/>
                  <a:gd name="T54" fmla="*/ 348 w 690"/>
                  <a:gd name="T55" fmla="*/ 320 h 320"/>
                  <a:gd name="T56" fmla="*/ 350 w 690"/>
                  <a:gd name="T57" fmla="*/ 320 h 320"/>
                  <a:gd name="T58" fmla="*/ 350 w 690"/>
                  <a:gd name="T59" fmla="*/ 320 h 320"/>
                  <a:gd name="T60" fmla="*/ 352 w 690"/>
                  <a:gd name="T61" fmla="*/ 320 h 320"/>
                  <a:gd name="T62" fmla="*/ 352 w 690"/>
                  <a:gd name="T63" fmla="*/ 320 h 320"/>
                  <a:gd name="T64" fmla="*/ 352 w 690"/>
                  <a:gd name="T65" fmla="*/ 320 h 320"/>
                  <a:gd name="T66" fmla="*/ 352 w 690"/>
                  <a:gd name="T67" fmla="*/ 320 h 320"/>
                  <a:gd name="T68" fmla="*/ 354 w 690"/>
                  <a:gd name="T69" fmla="*/ 320 h 320"/>
                  <a:gd name="T70" fmla="*/ 354 w 690"/>
                  <a:gd name="T71" fmla="*/ 320 h 320"/>
                  <a:gd name="T72" fmla="*/ 356 w 690"/>
                  <a:gd name="T73" fmla="*/ 320 h 320"/>
                  <a:gd name="T74" fmla="*/ 356 w 690"/>
                  <a:gd name="T75" fmla="*/ 320 h 320"/>
                  <a:gd name="T76" fmla="*/ 356 w 690"/>
                  <a:gd name="T77" fmla="*/ 320 h 320"/>
                  <a:gd name="T78" fmla="*/ 356 w 690"/>
                  <a:gd name="T79" fmla="*/ 320 h 320"/>
                  <a:gd name="T80" fmla="*/ 436 w 690"/>
                  <a:gd name="T81" fmla="*/ 306 h 320"/>
                  <a:gd name="T82" fmla="*/ 512 w 690"/>
                  <a:gd name="T83" fmla="*/ 272 h 320"/>
                  <a:gd name="T84" fmla="*/ 580 w 690"/>
                  <a:gd name="T85" fmla="*/ 222 h 320"/>
                  <a:gd name="T86" fmla="*/ 636 w 690"/>
                  <a:gd name="T87" fmla="*/ 156 h 320"/>
                  <a:gd name="T88" fmla="*/ 676 w 690"/>
                  <a:gd name="T89" fmla="*/ 76 h 320"/>
                  <a:gd name="T90" fmla="*/ 690 w 690"/>
                  <a:gd name="T9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90" h="320">
                    <a:moveTo>
                      <a:pt x="690" y="0"/>
                    </a:moveTo>
                    <a:lnTo>
                      <a:pt x="690" y="0"/>
                    </a:lnTo>
                    <a:lnTo>
                      <a:pt x="682" y="30"/>
                    </a:lnTo>
                    <a:lnTo>
                      <a:pt x="670" y="60"/>
                    </a:lnTo>
                    <a:lnTo>
                      <a:pt x="656" y="88"/>
                    </a:lnTo>
                    <a:lnTo>
                      <a:pt x="640" y="114"/>
                    </a:lnTo>
                    <a:lnTo>
                      <a:pt x="622" y="138"/>
                    </a:lnTo>
                    <a:lnTo>
                      <a:pt x="602" y="162"/>
                    </a:lnTo>
                    <a:lnTo>
                      <a:pt x="580" y="182"/>
                    </a:lnTo>
                    <a:lnTo>
                      <a:pt x="558" y="202"/>
                    </a:lnTo>
                    <a:lnTo>
                      <a:pt x="532" y="220"/>
                    </a:lnTo>
                    <a:lnTo>
                      <a:pt x="506" y="234"/>
                    </a:lnTo>
                    <a:lnTo>
                      <a:pt x="480" y="248"/>
                    </a:lnTo>
                    <a:lnTo>
                      <a:pt x="452" y="258"/>
                    </a:lnTo>
                    <a:lnTo>
                      <a:pt x="424" y="268"/>
                    </a:lnTo>
                    <a:lnTo>
                      <a:pt x="396" y="274"/>
                    </a:lnTo>
                    <a:lnTo>
                      <a:pt x="368" y="278"/>
                    </a:lnTo>
                    <a:lnTo>
                      <a:pt x="340" y="280"/>
                    </a:lnTo>
                    <a:lnTo>
                      <a:pt x="340" y="280"/>
                    </a:lnTo>
                    <a:lnTo>
                      <a:pt x="312" y="278"/>
                    </a:lnTo>
                    <a:lnTo>
                      <a:pt x="286" y="274"/>
                    </a:lnTo>
                    <a:lnTo>
                      <a:pt x="258" y="268"/>
                    </a:lnTo>
                    <a:lnTo>
                      <a:pt x="232" y="258"/>
                    </a:lnTo>
                    <a:lnTo>
                      <a:pt x="204" y="248"/>
                    </a:lnTo>
                    <a:lnTo>
                      <a:pt x="180" y="236"/>
                    </a:lnTo>
                    <a:lnTo>
                      <a:pt x="154" y="220"/>
                    </a:lnTo>
                    <a:lnTo>
                      <a:pt x="130" y="204"/>
                    </a:lnTo>
                    <a:lnTo>
                      <a:pt x="108" y="186"/>
                    </a:lnTo>
                    <a:lnTo>
                      <a:pt x="88" y="166"/>
                    </a:lnTo>
                    <a:lnTo>
                      <a:pt x="68" y="144"/>
                    </a:lnTo>
                    <a:lnTo>
                      <a:pt x="50" y="120"/>
                    </a:lnTo>
                    <a:lnTo>
                      <a:pt x="34" y="96"/>
                    </a:lnTo>
                    <a:lnTo>
                      <a:pt x="20" y="72"/>
                    </a:lnTo>
                    <a:lnTo>
                      <a:pt x="8" y="4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6" y="52"/>
                    </a:lnTo>
                    <a:lnTo>
                      <a:pt x="16" y="82"/>
                    </a:lnTo>
                    <a:lnTo>
                      <a:pt x="28" y="110"/>
                    </a:lnTo>
                    <a:lnTo>
                      <a:pt x="42" y="138"/>
                    </a:lnTo>
                    <a:lnTo>
                      <a:pt x="58" y="164"/>
                    </a:lnTo>
                    <a:lnTo>
                      <a:pt x="78" y="188"/>
                    </a:lnTo>
                    <a:lnTo>
                      <a:pt x="98" y="212"/>
                    </a:lnTo>
                    <a:lnTo>
                      <a:pt x="122" y="232"/>
                    </a:lnTo>
                    <a:lnTo>
                      <a:pt x="146" y="252"/>
                    </a:lnTo>
                    <a:lnTo>
                      <a:pt x="172" y="270"/>
                    </a:lnTo>
                    <a:lnTo>
                      <a:pt x="198" y="284"/>
                    </a:lnTo>
                    <a:lnTo>
                      <a:pt x="226" y="298"/>
                    </a:lnTo>
                    <a:lnTo>
                      <a:pt x="254" y="308"/>
                    </a:lnTo>
                    <a:lnTo>
                      <a:pt x="284" y="314"/>
                    </a:lnTo>
                    <a:lnTo>
                      <a:pt x="31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84" y="318"/>
                    </a:lnTo>
                    <a:lnTo>
                      <a:pt x="410" y="314"/>
                    </a:lnTo>
                    <a:lnTo>
                      <a:pt x="436" y="306"/>
                    </a:lnTo>
                    <a:lnTo>
                      <a:pt x="462" y="298"/>
                    </a:lnTo>
                    <a:lnTo>
                      <a:pt x="488" y="286"/>
                    </a:lnTo>
                    <a:lnTo>
                      <a:pt x="512" y="272"/>
                    </a:lnTo>
                    <a:lnTo>
                      <a:pt x="536" y="258"/>
                    </a:lnTo>
                    <a:lnTo>
                      <a:pt x="558" y="240"/>
                    </a:lnTo>
                    <a:lnTo>
                      <a:pt x="580" y="222"/>
                    </a:lnTo>
                    <a:lnTo>
                      <a:pt x="600" y="202"/>
                    </a:lnTo>
                    <a:lnTo>
                      <a:pt x="618" y="180"/>
                    </a:lnTo>
                    <a:lnTo>
                      <a:pt x="636" y="156"/>
                    </a:lnTo>
                    <a:lnTo>
                      <a:pt x="650" y="132"/>
                    </a:lnTo>
                    <a:lnTo>
                      <a:pt x="664" y="104"/>
                    </a:lnTo>
                    <a:lnTo>
                      <a:pt x="676" y="76"/>
                    </a:lnTo>
                    <a:lnTo>
                      <a:pt x="684" y="48"/>
                    </a:lnTo>
                    <a:lnTo>
                      <a:pt x="690" y="6"/>
                    </a:lnTo>
                    <a:lnTo>
                      <a:pt x="69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2000"/>
              <p:cNvSpPr>
                <a:spLocks/>
              </p:cNvSpPr>
              <p:nvPr/>
            </p:nvSpPr>
            <p:spPr bwMode="auto">
              <a:xfrm>
                <a:off x="11385551" y="1699444"/>
                <a:ext cx="76200" cy="73025"/>
              </a:xfrm>
              <a:custGeom>
                <a:avLst/>
                <a:gdLst>
                  <a:gd name="T0" fmla="*/ 0 w 48"/>
                  <a:gd name="T1" fmla="*/ 22 h 46"/>
                  <a:gd name="T2" fmla="*/ 0 w 48"/>
                  <a:gd name="T3" fmla="*/ 22 h 46"/>
                  <a:gd name="T4" fmla="*/ 2 w 48"/>
                  <a:gd name="T5" fmla="*/ 32 h 46"/>
                  <a:gd name="T6" fmla="*/ 8 w 48"/>
                  <a:gd name="T7" fmla="*/ 40 h 46"/>
                  <a:gd name="T8" fmla="*/ 14 w 48"/>
                  <a:gd name="T9" fmla="*/ 44 h 46"/>
                  <a:gd name="T10" fmla="*/ 24 w 48"/>
                  <a:gd name="T11" fmla="*/ 46 h 46"/>
                  <a:gd name="T12" fmla="*/ 24 w 48"/>
                  <a:gd name="T13" fmla="*/ 46 h 46"/>
                  <a:gd name="T14" fmla="*/ 34 w 48"/>
                  <a:gd name="T15" fmla="*/ 44 h 46"/>
                  <a:gd name="T16" fmla="*/ 40 w 48"/>
                  <a:gd name="T17" fmla="*/ 40 h 46"/>
                  <a:gd name="T18" fmla="*/ 46 w 48"/>
                  <a:gd name="T19" fmla="*/ 32 h 46"/>
                  <a:gd name="T20" fmla="*/ 48 w 48"/>
                  <a:gd name="T21" fmla="*/ 22 h 46"/>
                  <a:gd name="T22" fmla="*/ 48 w 48"/>
                  <a:gd name="T23" fmla="*/ 22 h 46"/>
                  <a:gd name="T24" fmla="*/ 46 w 48"/>
                  <a:gd name="T25" fmla="*/ 14 h 46"/>
                  <a:gd name="T26" fmla="*/ 40 w 48"/>
                  <a:gd name="T27" fmla="*/ 6 h 46"/>
                  <a:gd name="T28" fmla="*/ 34 w 48"/>
                  <a:gd name="T29" fmla="*/ 0 h 46"/>
                  <a:gd name="T30" fmla="*/ 24 w 48"/>
                  <a:gd name="T31" fmla="*/ 0 h 46"/>
                  <a:gd name="T32" fmla="*/ 24 w 48"/>
                  <a:gd name="T33" fmla="*/ 0 h 46"/>
                  <a:gd name="T34" fmla="*/ 14 w 48"/>
                  <a:gd name="T35" fmla="*/ 0 h 46"/>
                  <a:gd name="T36" fmla="*/ 8 w 48"/>
                  <a:gd name="T37" fmla="*/ 6 h 46"/>
                  <a:gd name="T38" fmla="*/ 2 w 48"/>
                  <a:gd name="T39" fmla="*/ 14 h 46"/>
                  <a:gd name="T40" fmla="*/ 0 w 48"/>
                  <a:gd name="T41" fmla="*/ 22 h 46"/>
                  <a:gd name="T42" fmla="*/ 0 w 48"/>
                  <a:gd name="T43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8" h="46">
                    <a:moveTo>
                      <a:pt x="0" y="22"/>
                    </a:moveTo>
                    <a:lnTo>
                      <a:pt x="0" y="22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4" y="44"/>
                    </a:lnTo>
                    <a:lnTo>
                      <a:pt x="40" y="40"/>
                    </a:lnTo>
                    <a:lnTo>
                      <a:pt x="46" y="3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6" y="14"/>
                    </a:lnTo>
                    <a:lnTo>
                      <a:pt x="40" y="6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2001"/>
              <p:cNvSpPr>
                <a:spLocks/>
              </p:cNvSpPr>
              <p:nvPr/>
            </p:nvSpPr>
            <p:spPr bwMode="auto">
              <a:xfrm>
                <a:off x="11934826" y="1699444"/>
                <a:ext cx="73025" cy="73025"/>
              </a:xfrm>
              <a:custGeom>
                <a:avLst/>
                <a:gdLst>
                  <a:gd name="T0" fmla="*/ 0 w 46"/>
                  <a:gd name="T1" fmla="*/ 22 h 46"/>
                  <a:gd name="T2" fmla="*/ 0 w 46"/>
                  <a:gd name="T3" fmla="*/ 22 h 46"/>
                  <a:gd name="T4" fmla="*/ 2 w 46"/>
                  <a:gd name="T5" fmla="*/ 32 h 46"/>
                  <a:gd name="T6" fmla="*/ 6 w 46"/>
                  <a:gd name="T7" fmla="*/ 40 h 46"/>
                  <a:gd name="T8" fmla="*/ 14 w 46"/>
                  <a:gd name="T9" fmla="*/ 44 h 46"/>
                  <a:gd name="T10" fmla="*/ 24 w 46"/>
                  <a:gd name="T11" fmla="*/ 46 h 46"/>
                  <a:gd name="T12" fmla="*/ 24 w 46"/>
                  <a:gd name="T13" fmla="*/ 46 h 46"/>
                  <a:gd name="T14" fmla="*/ 32 w 46"/>
                  <a:gd name="T15" fmla="*/ 44 h 46"/>
                  <a:gd name="T16" fmla="*/ 40 w 46"/>
                  <a:gd name="T17" fmla="*/ 40 h 46"/>
                  <a:gd name="T18" fmla="*/ 46 w 46"/>
                  <a:gd name="T19" fmla="*/ 32 h 46"/>
                  <a:gd name="T20" fmla="*/ 46 w 46"/>
                  <a:gd name="T21" fmla="*/ 22 h 46"/>
                  <a:gd name="T22" fmla="*/ 46 w 46"/>
                  <a:gd name="T23" fmla="*/ 22 h 46"/>
                  <a:gd name="T24" fmla="*/ 46 w 46"/>
                  <a:gd name="T25" fmla="*/ 14 h 46"/>
                  <a:gd name="T26" fmla="*/ 40 w 46"/>
                  <a:gd name="T27" fmla="*/ 6 h 46"/>
                  <a:gd name="T28" fmla="*/ 32 w 46"/>
                  <a:gd name="T29" fmla="*/ 0 h 46"/>
                  <a:gd name="T30" fmla="*/ 24 w 46"/>
                  <a:gd name="T31" fmla="*/ 0 h 46"/>
                  <a:gd name="T32" fmla="*/ 24 w 46"/>
                  <a:gd name="T33" fmla="*/ 0 h 46"/>
                  <a:gd name="T34" fmla="*/ 14 w 46"/>
                  <a:gd name="T35" fmla="*/ 0 h 46"/>
                  <a:gd name="T36" fmla="*/ 6 w 46"/>
                  <a:gd name="T37" fmla="*/ 6 h 46"/>
                  <a:gd name="T38" fmla="*/ 2 w 46"/>
                  <a:gd name="T39" fmla="*/ 14 h 46"/>
                  <a:gd name="T40" fmla="*/ 0 w 46"/>
                  <a:gd name="T41" fmla="*/ 22 h 46"/>
                  <a:gd name="T42" fmla="*/ 0 w 46"/>
                  <a:gd name="T43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46">
                    <a:moveTo>
                      <a:pt x="0" y="22"/>
                    </a:moveTo>
                    <a:lnTo>
                      <a:pt x="0" y="22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6" y="3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4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2002"/>
              <p:cNvSpPr>
                <a:spLocks/>
              </p:cNvSpPr>
              <p:nvPr/>
            </p:nvSpPr>
            <p:spPr bwMode="auto">
              <a:xfrm>
                <a:off x="11633201" y="1969319"/>
                <a:ext cx="155575" cy="76200"/>
              </a:xfrm>
              <a:custGeom>
                <a:avLst/>
                <a:gdLst>
                  <a:gd name="T0" fmla="*/ 82 w 98"/>
                  <a:gd name="T1" fmla="*/ 4 h 48"/>
                  <a:gd name="T2" fmla="*/ 82 w 98"/>
                  <a:gd name="T3" fmla="*/ 4 h 48"/>
                  <a:gd name="T4" fmla="*/ 82 w 98"/>
                  <a:gd name="T5" fmla="*/ 4 h 48"/>
                  <a:gd name="T6" fmla="*/ 80 w 98"/>
                  <a:gd name="T7" fmla="*/ 10 h 48"/>
                  <a:gd name="T8" fmla="*/ 70 w 98"/>
                  <a:gd name="T9" fmla="*/ 18 h 48"/>
                  <a:gd name="T10" fmla="*/ 70 w 98"/>
                  <a:gd name="T11" fmla="*/ 18 h 48"/>
                  <a:gd name="T12" fmla="*/ 64 w 98"/>
                  <a:gd name="T13" fmla="*/ 24 h 48"/>
                  <a:gd name="T14" fmla="*/ 56 w 98"/>
                  <a:gd name="T15" fmla="*/ 28 h 48"/>
                  <a:gd name="T16" fmla="*/ 48 w 98"/>
                  <a:gd name="T17" fmla="*/ 30 h 48"/>
                  <a:gd name="T18" fmla="*/ 38 w 98"/>
                  <a:gd name="T19" fmla="*/ 32 h 48"/>
                  <a:gd name="T20" fmla="*/ 38 w 98"/>
                  <a:gd name="T21" fmla="*/ 32 h 48"/>
                  <a:gd name="T22" fmla="*/ 26 w 98"/>
                  <a:gd name="T23" fmla="*/ 30 h 48"/>
                  <a:gd name="T24" fmla="*/ 12 w 98"/>
                  <a:gd name="T25" fmla="*/ 24 h 48"/>
                  <a:gd name="T26" fmla="*/ 12 w 98"/>
                  <a:gd name="T27" fmla="*/ 24 h 48"/>
                  <a:gd name="T28" fmla="*/ 10 w 98"/>
                  <a:gd name="T29" fmla="*/ 24 h 48"/>
                  <a:gd name="T30" fmla="*/ 6 w 98"/>
                  <a:gd name="T31" fmla="*/ 24 h 48"/>
                  <a:gd name="T32" fmla="*/ 4 w 98"/>
                  <a:gd name="T33" fmla="*/ 26 h 48"/>
                  <a:gd name="T34" fmla="*/ 2 w 98"/>
                  <a:gd name="T35" fmla="*/ 28 h 48"/>
                  <a:gd name="T36" fmla="*/ 2 w 98"/>
                  <a:gd name="T37" fmla="*/ 28 h 48"/>
                  <a:gd name="T38" fmla="*/ 0 w 98"/>
                  <a:gd name="T39" fmla="*/ 32 h 48"/>
                  <a:gd name="T40" fmla="*/ 2 w 98"/>
                  <a:gd name="T41" fmla="*/ 34 h 48"/>
                  <a:gd name="T42" fmla="*/ 2 w 98"/>
                  <a:gd name="T43" fmla="*/ 36 h 48"/>
                  <a:gd name="T44" fmla="*/ 6 w 98"/>
                  <a:gd name="T45" fmla="*/ 38 h 48"/>
                  <a:gd name="T46" fmla="*/ 6 w 98"/>
                  <a:gd name="T47" fmla="*/ 38 h 48"/>
                  <a:gd name="T48" fmla="*/ 22 w 98"/>
                  <a:gd name="T49" fmla="*/ 46 h 48"/>
                  <a:gd name="T50" fmla="*/ 38 w 98"/>
                  <a:gd name="T51" fmla="*/ 48 h 48"/>
                  <a:gd name="T52" fmla="*/ 38 w 98"/>
                  <a:gd name="T53" fmla="*/ 48 h 48"/>
                  <a:gd name="T54" fmla="*/ 52 w 98"/>
                  <a:gd name="T55" fmla="*/ 46 h 48"/>
                  <a:gd name="T56" fmla="*/ 64 w 98"/>
                  <a:gd name="T57" fmla="*/ 42 h 48"/>
                  <a:gd name="T58" fmla="*/ 74 w 98"/>
                  <a:gd name="T59" fmla="*/ 36 h 48"/>
                  <a:gd name="T60" fmla="*/ 82 w 98"/>
                  <a:gd name="T61" fmla="*/ 30 h 48"/>
                  <a:gd name="T62" fmla="*/ 82 w 98"/>
                  <a:gd name="T63" fmla="*/ 30 h 48"/>
                  <a:gd name="T64" fmla="*/ 92 w 98"/>
                  <a:gd name="T65" fmla="*/ 18 h 48"/>
                  <a:gd name="T66" fmla="*/ 96 w 98"/>
                  <a:gd name="T67" fmla="*/ 12 h 48"/>
                  <a:gd name="T68" fmla="*/ 96 w 98"/>
                  <a:gd name="T69" fmla="*/ 12 h 48"/>
                  <a:gd name="T70" fmla="*/ 98 w 98"/>
                  <a:gd name="T71" fmla="*/ 10 h 48"/>
                  <a:gd name="T72" fmla="*/ 98 w 98"/>
                  <a:gd name="T73" fmla="*/ 6 h 48"/>
                  <a:gd name="T74" fmla="*/ 96 w 98"/>
                  <a:gd name="T75" fmla="*/ 4 h 48"/>
                  <a:gd name="T76" fmla="*/ 94 w 98"/>
                  <a:gd name="T77" fmla="*/ 2 h 48"/>
                  <a:gd name="T78" fmla="*/ 94 w 98"/>
                  <a:gd name="T79" fmla="*/ 2 h 48"/>
                  <a:gd name="T80" fmla="*/ 90 w 98"/>
                  <a:gd name="T81" fmla="*/ 0 h 48"/>
                  <a:gd name="T82" fmla="*/ 88 w 98"/>
                  <a:gd name="T83" fmla="*/ 0 h 48"/>
                  <a:gd name="T84" fmla="*/ 86 w 98"/>
                  <a:gd name="T85" fmla="*/ 2 h 48"/>
                  <a:gd name="T86" fmla="*/ 82 w 98"/>
                  <a:gd name="T87" fmla="*/ 4 h 48"/>
                  <a:gd name="T88" fmla="*/ 82 w 98"/>
                  <a:gd name="T89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8" h="48">
                    <a:moveTo>
                      <a:pt x="82" y="4"/>
                    </a:moveTo>
                    <a:lnTo>
                      <a:pt x="82" y="4"/>
                    </a:lnTo>
                    <a:lnTo>
                      <a:pt x="82" y="4"/>
                    </a:lnTo>
                    <a:lnTo>
                      <a:pt x="80" y="10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64" y="24"/>
                    </a:lnTo>
                    <a:lnTo>
                      <a:pt x="56" y="28"/>
                    </a:lnTo>
                    <a:lnTo>
                      <a:pt x="4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26" y="30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6" y="24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22" y="46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52" y="46"/>
                    </a:lnTo>
                    <a:lnTo>
                      <a:pt x="64" y="42"/>
                    </a:lnTo>
                    <a:lnTo>
                      <a:pt x="74" y="3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92" y="1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96" y="4"/>
                    </a:lnTo>
                    <a:lnTo>
                      <a:pt x="94" y="2"/>
                    </a:lnTo>
                    <a:lnTo>
                      <a:pt x="94" y="2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6" y="2"/>
                    </a:lnTo>
                    <a:lnTo>
                      <a:pt x="82" y="4"/>
                    </a:lnTo>
                    <a:lnTo>
                      <a:pt x="82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2003"/>
              <p:cNvSpPr>
                <a:spLocks/>
              </p:cNvSpPr>
              <p:nvPr/>
            </p:nvSpPr>
            <p:spPr bwMode="auto">
              <a:xfrm>
                <a:off x="11099801" y="651694"/>
                <a:ext cx="1193800" cy="1104900"/>
              </a:xfrm>
              <a:custGeom>
                <a:avLst/>
                <a:gdLst>
                  <a:gd name="T0" fmla="*/ 502 w 752"/>
                  <a:gd name="T1" fmla="*/ 104 h 696"/>
                  <a:gd name="T2" fmla="*/ 456 w 752"/>
                  <a:gd name="T3" fmla="*/ 84 h 696"/>
                  <a:gd name="T4" fmla="*/ 442 w 752"/>
                  <a:gd name="T5" fmla="*/ 72 h 696"/>
                  <a:gd name="T6" fmla="*/ 438 w 752"/>
                  <a:gd name="T7" fmla="*/ 58 h 696"/>
                  <a:gd name="T8" fmla="*/ 440 w 752"/>
                  <a:gd name="T9" fmla="*/ 50 h 696"/>
                  <a:gd name="T10" fmla="*/ 456 w 752"/>
                  <a:gd name="T11" fmla="*/ 26 h 696"/>
                  <a:gd name="T12" fmla="*/ 464 w 752"/>
                  <a:gd name="T13" fmla="*/ 10 h 696"/>
                  <a:gd name="T14" fmla="*/ 460 w 752"/>
                  <a:gd name="T15" fmla="*/ 2 h 696"/>
                  <a:gd name="T16" fmla="*/ 458 w 752"/>
                  <a:gd name="T17" fmla="*/ 0 h 696"/>
                  <a:gd name="T18" fmla="*/ 444 w 752"/>
                  <a:gd name="T19" fmla="*/ 2 h 696"/>
                  <a:gd name="T20" fmla="*/ 406 w 752"/>
                  <a:gd name="T21" fmla="*/ 24 h 696"/>
                  <a:gd name="T22" fmla="*/ 330 w 752"/>
                  <a:gd name="T23" fmla="*/ 78 h 696"/>
                  <a:gd name="T24" fmla="*/ 284 w 752"/>
                  <a:gd name="T25" fmla="*/ 104 h 696"/>
                  <a:gd name="T26" fmla="*/ 262 w 752"/>
                  <a:gd name="T27" fmla="*/ 108 h 696"/>
                  <a:gd name="T28" fmla="*/ 224 w 752"/>
                  <a:gd name="T29" fmla="*/ 122 h 696"/>
                  <a:gd name="T30" fmla="*/ 188 w 752"/>
                  <a:gd name="T31" fmla="*/ 140 h 696"/>
                  <a:gd name="T32" fmla="*/ 154 w 752"/>
                  <a:gd name="T33" fmla="*/ 164 h 696"/>
                  <a:gd name="T34" fmla="*/ 124 w 752"/>
                  <a:gd name="T35" fmla="*/ 190 h 696"/>
                  <a:gd name="T36" fmla="*/ 82 w 752"/>
                  <a:gd name="T37" fmla="*/ 240 h 696"/>
                  <a:gd name="T38" fmla="*/ 40 w 752"/>
                  <a:gd name="T39" fmla="*/ 316 h 696"/>
                  <a:gd name="T40" fmla="*/ 12 w 752"/>
                  <a:gd name="T41" fmla="*/ 402 h 696"/>
                  <a:gd name="T42" fmla="*/ 0 w 752"/>
                  <a:gd name="T43" fmla="*/ 496 h 696"/>
                  <a:gd name="T44" fmla="*/ 6 w 752"/>
                  <a:gd name="T45" fmla="*/ 596 h 696"/>
                  <a:gd name="T46" fmla="*/ 24 w 752"/>
                  <a:gd name="T47" fmla="*/ 672 h 696"/>
                  <a:gd name="T48" fmla="*/ 32 w 752"/>
                  <a:gd name="T49" fmla="*/ 696 h 696"/>
                  <a:gd name="T50" fmla="*/ 100 w 752"/>
                  <a:gd name="T51" fmla="*/ 356 h 696"/>
                  <a:gd name="T52" fmla="*/ 680 w 752"/>
                  <a:gd name="T53" fmla="*/ 696 h 696"/>
                  <a:gd name="T54" fmla="*/ 722 w 752"/>
                  <a:gd name="T55" fmla="*/ 696 h 696"/>
                  <a:gd name="T56" fmla="*/ 736 w 752"/>
                  <a:gd name="T57" fmla="*/ 644 h 696"/>
                  <a:gd name="T58" fmla="*/ 750 w 752"/>
                  <a:gd name="T59" fmla="*/ 544 h 696"/>
                  <a:gd name="T60" fmla="*/ 748 w 752"/>
                  <a:gd name="T61" fmla="*/ 448 h 696"/>
                  <a:gd name="T62" fmla="*/ 730 w 752"/>
                  <a:gd name="T63" fmla="*/ 360 h 696"/>
                  <a:gd name="T64" fmla="*/ 700 w 752"/>
                  <a:gd name="T65" fmla="*/ 282 h 696"/>
                  <a:gd name="T66" fmla="*/ 656 w 752"/>
                  <a:gd name="T67" fmla="*/ 214 h 696"/>
                  <a:gd name="T68" fmla="*/ 602 w 752"/>
                  <a:gd name="T69" fmla="*/ 158 h 696"/>
                  <a:gd name="T70" fmla="*/ 536 w 752"/>
                  <a:gd name="T71" fmla="*/ 118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52" h="696">
                    <a:moveTo>
                      <a:pt x="502" y="104"/>
                    </a:moveTo>
                    <a:lnTo>
                      <a:pt x="502" y="104"/>
                    </a:lnTo>
                    <a:lnTo>
                      <a:pt x="476" y="94"/>
                    </a:lnTo>
                    <a:lnTo>
                      <a:pt x="456" y="84"/>
                    </a:lnTo>
                    <a:lnTo>
                      <a:pt x="448" y="78"/>
                    </a:lnTo>
                    <a:lnTo>
                      <a:pt x="442" y="72"/>
                    </a:lnTo>
                    <a:lnTo>
                      <a:pt x="438" y="64"/>
                    </a:lnTo>
                    <a:lnTo>
                      <a:pt x="438" y="58"/>
                    </a:lnTo>
                    <a:lnTo>
                      <a:pt x="438" y="58"/>
                    </a:lnTo>
                    <a:lnTo>
                      <a:pt x="440" y="50"/>
                    </a:lnTo>
                    <a:lnTo>
                      <a:pt x="444" y="42"/>
                    </a:lnTo>
                    <a:lnTo>
                      <a:pt x="456" y="26"/>
                    </a:lnTo>
                    <a:lnTo>
                      <a:pt x="462" y="18"/>
                    </a:lnTo>
                    <a:lnTo>
                      <a:pt x="464" y="10"/>
                    </a:lnTo>
                    <a:lnTo>
                      <a:pt x="464" y="4"/>
                    </a:lnTo>
                    <a:lnTo>
                      <a:pt x="460" y="2"/>
                    </a:lnTo>
                    <a:lnTo>
                      <a:pt x="458" y="0"/>
                    </a:lnTo>
                    <a:lnTo>
                      <a:pt x="458" y="0"/>
                    </a:lnTo>
                    <a:lnTo>
                      <a:pt x="452" y="0"/>
                    </a:lnTo>
                    <a:lnTo>
                      <a:pt x="444" y="2"/>
                    </a:lnTo>
                    <a:lnTo>
                      <a:pt x="428" y="10"/>
                    </a:lnTo>
                    <a:lnTo>
                      <a:pt x="406" y="24"/>
                    </a:lnTo>
                    <a:lnTo>
                      <a:pt x="382" y="42"/>
                    </a:lnTo>
                    <a:lnTo>
                      <a:pt x="330" y="78"/>
                    </a:lnTo>
                    <a:lnTo>
                      <a:pt x="306" y="94"/>
                    </a:lnTo>
                    <a:lnTo>
                      <a:pt x="284" y="104"/>
                    </a:lnTo>
                    <a:lnTo>
                      <a:pt x="284" y="104"/>
                    </a:lnTo>
                    <a:lnTo>
                      <a:pt x="262" y="108"/>
                    </a:lnTo>
                    <a:lnTo>
                      <a:pt x="244" y="114"/>
                    </a:lnTo>
                    <a:lnTo>
                      <a:pt x="224" y="122"/>
                    </a:lnTo>
                    <a:lnTo>
                      <a:pt x="206" y="130"/>
                    </a:lnTo>
                    <a:lnTo>
                      <a:pt x="188" y="140"/>
                    </a:lnTo>
                    <a:lnTo>
                      <a:pt x="170" y="152"/>
                    </a:lnTo>
                    <a:lnTo>
                      <a:pt x="154" y="164"/>
                    </a:lnTo>
                    <a:lnTo>
                      <a:pt x="138" y="176"/>
                    </a:lnTo>
                    <a:lnTo>
                      <a:pt x="124" y="190"/>
                    </a:lnTo>
                    <a:lnTo>
                      <a:pt x="108" y="206"/>
                    </a:lnTo>
                    <a:lnTo>
                      <a:pt x="82" y="240"/>
                    </a:lnTo>
                    <a:lnTo>
                      <a:pt x="60" y="276"/>
                    </a:lnTo>
                    <a:lnTo>
                      <a:pt x="40" y="316"/>
                    </a:lnTo>
                    <a:lnTo>
                      <a:pt x="24" y="358"/>
                    </a:lnTo>
                    <a:lnTo>
                      <a:pt x="12" y="402"/>
                    </a:lnTo>
                    <a:lnTo>
                      <a:pt x="4" y="448"/>
                    </a:lnTo>
                    <a:lnTo>
                      <a:pt x="0" y="496"/>
                    </a:lnTo>
                    <a:lnTo>
                      <a:pt x="2" y="546"/>
                    </a:lnTo>
                    <a:lnTo>
                      <a:pt x="6" y="596"/>
                    </a:lnTo>
                    <a:lnTo>
                      <a:pt x="16" y="646"/>
                    </a:lnTo>
                    <a:lnTo>
                      <a:pt x="24" y="672"/>
                    </a:lnTo>
                    <a:lnTo>
                      <a:pt x="32" y="696"/>
                    </a:lnTo>
                    <a:lnTo>
                      <a:pt x="32" y="696"/>
                    </a:lnTo>
                    <a:lnTo>
                      <a:pt x="78" y="696"/>
                    </a:lnTo>
                    <a:lnTo>
                      <a:pt x="100" y="356"/>
                    </a:lnTo>
                    <a:lnTo>
                      <a:pt x="656" y="358"/>
                    </a:lnTo>
                    <a:lnTo>
                      <a:pt x="680" y="696"/>
                    </a:lnTo>
                    <a:lnTo>
                      <a:pt x="680" y="696"/>
                    </a:lnTo>
                    <a:lnTo>
                      <a:pt x="722" y="696"/>
                    </a:lnTo>
                    <a:lnTo>
                      <a:pt x="722" y="696"/>
                    </a:lnTo>
                    <a:lnTo>
                      <a:pt x="736" y="644"/>
                    </a:lnTo>
                    <a:lnTo>
                      <a:pt x="746" y="594"/>
                    </a:lnTo>
                    <a:lnTo>
                      <a:pt x="750" y="544"/>
                    </a:lnTo>
                    <a:lnTo>
                      <a:pt x="752" y="496"/>
                    </a:lnTo>
                    <a:lnTo>
                      <a:pt x="748" y="448"/>
                    </a:lnTo>
                    <a:lnTo>
                      <a:pt x="742" y="404"/>
                    </a:lnTo>
                    <a:lnTo>
                      <a:pt x="730" y="360"/>
                    </a:lnTo>
                    <a:lnTo>
                      <a:pt x="718" y="320"/>
                    </a:lnTo>
                    <a:lnTo>
                      <a:pt x="700" y="282"/>
                    </a:lnTo>
                    <a:lnTo>
                      <a:pt x="680" y="246"/>
                    </a:lnTo>
                    <a:lnTo>
                      <a:pt x="656" y="214"/>
                    </a:lnTo>
                    <a:lnTo>
                      <a:pt x="630" y="184"/>
                    </a:lnTo>
                    <a:lnTo>
                      <a:pt x="602" y="158"/>
                    </a:lnTo>
                    <a:lnTo>
                      <a:pt x="570" y="136"/>
                    </a:lnTo>
                    <a:lnTo>
                      <a:pt x="536" y="118"/>
                    </a:lnTo>
                    <a:lnTo>
                      <a:pt x="502" y="10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2004"/>
              <p:cNvSpPr>
                <a:spLocks/>
              </p:cNvSpPr>
              <p:nvPr/>
            </p:nvSpPr>
            <p:spPr bwMode="auto">
              <a:xfrm>
                <a:off x="11099801" y="651694"/>
                <a:ext cx="1193800" cy="1104900"/>
              </a:xfrm>
              <a:custGeom>
                <a:avLst/>
                <a:gdLst>
                  <a:gd name="T0" fmla="*/ 502 w 752"/>
                  <a:gd name="T1" fmla="*/ 104 h 696"/>
                  <a:gd name="T2" fmla="*/ 456 w 752"/>
                  <a:gd name="T3" fmla="*/ 84 h 696"/>
                  <a:gd name="T4" fmla="*/ 442 w 752"/>
                  <a:gd name="T5" fmla="*/ 72 h 696"/>
                  <a:gd name="T6" fmla="*/ 438 w 752"/>
                  <a:gd name="T7" fmla="*/ 58 h 696"/>
                  <a:gd name="T8" fmla="*/ 440 w 752"/>
                  <a:gd name="T9" fmla="*/ 50 h 696"/>
                  <a:gd name="T10" fmla="*/ 456 w 752"/>
                  <a:gd name="T11" fmla="*/ 26 h 696"/>
                  <a:gd name="T12" fmla="*/ 464 w 752"/>
                  <a:gd name="T13" fmla="*/ 10 h 696"/>
                  <a:gd name="T14" fmla="*/ 460 w 752"/>
                  <a:gd name="T15" fmla="*/ 2 h 696"/>
                  <a:gd name="T16" fmla="*/ 458 w 752"/>
                  <a:gd name="T17" fmla="*/ 0 h 696"/>
                  <a:gd name="T18" fmla="*/ 444 w 752"/>
                  <a:gd name="T19" fmla="*/ 2 h 696"/>
                  <a:gd name="T20" fmla="*/ 406 w 752"/>
                  <a:gd name="T21" fmla="*/ 24 h 696"/>
                  <a:gd name="T22" fmla="*/ 330 w 752"/>
                  <a:gd name="T23" fmla="*/ 78 h 696"/>
                  <a:gd name="T24" fmla="*/ 284 w 752"/>
                  <a:gd name="T25" fmla="*/ 104 h 696"/>
                  <a:gd name="T26" fmla="*/ 262 w 752"/>
                  <a:gd name="T27" fmla="*/ 108 h 696"/>
                  <a:gd name="T28" fmla="*/ 224 w 752"/>
                  <a:gd name="T29" fmla="*/ 122 h 696"/>
                  <a:gd name="T30" fmla="*/ 188 w 752"/>
                  <a:gd name="T31" fmla="*/ 140 h 696"/>
                  <a:gd name="T32" fmla="*/ 154 w 752"/>
                  <a:gd name="T33" fmla="*/ 164 h 696"/>
                  <a:gd name="T34" fmla="*/ 124 w 752"/>
                  <a:gd name="T35" fmla="*/ 190 h 696"/>
                  <a:gd name="T36" fmla="*/ 82 w 752"/>
                  <a:gd name="T37" fmla="*/ 240 h 696"/>
                  <a:gd name="T38" fmla="*/ 40 w 752"/>
                  <a:gd name="T39" fmla="*/ 316 h 696"/>
                  <a:gd name="T40" fmla="*/ 12 w 752"/>
                  <a:gd name="T41" fmla="*/ 402 h 696"/>
                  <a:gd name="T42" fmla="*/ 0 w 752"/>
                  <a:gd name="T43" fmla="*/ 496 h 696"/>
                  <a:gd name="T44" fmla="*/ 6 w 752"/>
                  <a:gd name="T45" fmla="*/ 596 h 696"/>
                  <a:gd name="T46" fmla="*/ 24 w 752"/>
                  <a:gd name="T47" fmla="*/ 672 h 696"/>
                  <a:gd name="T48" fmla="*/ 32 w 752"/>
                  <a:gd name="T49" fmla="*/ 696 h 696"/>
                  <a:gd name="T50" fmla="*/ 100 w 752"/>
                  <a:gd name="T51" fmla="*/ 356 h 696"/>
                  <a:gd name="T52" fmla="*/ 680 w 752"/>
                  <a:gd name="T53" fmla="*/ 696 h 696"/>
                  <a:gd name="T54" fmla="*/ 722 w 752"/>
                  <a:gd name="T55" fmla="*/ 696 h 696"/>
                  <a:gd name="T56" fmla="*/ 736 w 752"/>
                  <a:gd name="T57" fmla="*/ 644 h 696"/>
                  <a:gd name="T58" fmla="*/ 750 w 752"/>
                  <a:gd name="T59" fmla="*/ 544 h 696"/>
                  <a:gd name="T60" fmla="*/ 748 w 752"/>
                  <a:gd name="T61" fmla="*/ 448 h 696"/>
                  <a:gd name="T62" fmla="*/ 730 w 752"/>
                  <a:gd name="T63" fmla="*/ 360 h 696"/>
                  <a:gd name="T64" fmla="*/ 700 w 752"/>
                  <a:gd name="T65" fmla="*/ 282 h 696"/>
                  <a:gd name="T66" fmla="*/ 656 w 752"/>
                  <a:gd name="T67" fmla="*/ 214 h 696"/>
                  <a:gd name="T68" fmla="*/ 602 w 752"/>
                  <a:gd name="T69" fmla="*/ 158 h 696"/>
                  <a:gd name="T70" fmla="*/ 536 w 752"/>
                  <a:gd name="T71" fmla="*/ 118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52" h="696">
                    <a:moveTo>
                      <a:pt x="502" y="104"/>
                    </a:moveTo>
                    <a:lnTo>
                      <a:pt x="502" y="104"/>
                    </a:lnTo>
                    <a:lnTo>
                      <a:pt x="476" y="94"/>
                    </a:lnTo>
                    <a:lnTo>
                      <a:pt x="456" y="84"/>
                    </a:lnTo>
                    <a:lnTo>
                      <a:pt x="448" y="78"/>
                    </a:lnTo>
                    <a:lnTo>
                      <a:pt x="442" y="72"/>
                    </a:lnTo>
                    <a:lnTo>
                      <a:pt x="438" y="64"/>
                    </a:lnTo>
                    <a:lnTo>
                      <a:pt x="438" y="58"/>
                    </a:lnTo>
                    <a:lnTo>
                      <a:pt x="438" y="58"/>
                    </a:lnTo>
                    <a:lnTo>
                      <a:pt x="440" y="50"/>
                    </a:lnTo>
                    <a:lnTo>
                      <a:pt x="444" y="42"/>
                    </a:lnTo>
                    <a:lnTo>
                      <a:pt x="456" y="26"/>
                    </a:lnTo>
                    <a:lnTo>
                      <a:pt x="462" y="18"/>
                    </a:lnTo>
                    <a:lnTo>
                      <a:pt x="464" y="10"/>
                    </a:lnTo>
                    <a:lnTo>
                      <a:pt x="464" y="4"/>
                    </a:lnTo>
                    <a:lnTo>
                      <a:pt x="460" y="2"/>
                    </a:lnTo>
                    <a:lnTo>
                      <a:pt x="458" y="0"/>
                    </a:lnTo>
                    <a:lnTo>
                      <a:pt x="458" y="0"/>
                    </a:lnTo>
                    <a:lnTo>
                      <a:pt x="452" y="0"/>
                    </a:lnTo>
                    <a:lnTo>
                      <a:pt x="444" y="2"/>
                    </a:lnTo>
                    <a:lnTo>
                      <a:pt x="428" y="10"/>
                    </a:lnTo>
                    <a:lnTo>
                      <a:pt x="406" y="24"/>
                    </a:lnTo>
                    <a:lnTo>
                      <a:pt x="382" y="42"/>
                    </a:lnTo>
                    <a:lnTo>
                      <a:pt x="330" y="78"/>
                    </a:lnTo>
                    <a:lnTo>
                      <a:pt x="306" y="94"/>
                    </a:lnTo>
                    <a:lnTo>
                      <a:pt x="284" y="104"/>
                    </a:lnTo>
                    <a:lnTo>
                      <a:pt x="284" y="104"/>
                    </a:lnTo>
                    <a:lnTo>
                      <a:pt x="262" y="108"/>
                    </a:lnTo>
                    <a:lnTo>
                      <a:pt x="244" y="114"/>
                    </a:lnTo>
                    <a:lnTo>
                      <a:pt x="224" y="122"/>
                    </a:lnTo>
                    <a:lnTo>
                      <a:pt x="206" y="130"/>
                    </a:lnTo>
                    <a:lnTo>
                      <a:pt x="188" y="140"/>
                    </a:lnTo>
                    <a:lnTo>
                      <a:pt x="170" y="152"/>
                    </a:lnTo>
                    <a:lnTo>
                      <a:pt x="154" y="164"/>
                    </a:lnTo>
                    <a:lnTo>
                      <a:pt x="138" y="176"/>
                    </a:lnTo>
                    <a:lnTo>
                      <a:pt x="124" y="190"/>
                    </a:lnTo>
                    <a:lnTo>
                      <a:pt x="108" y="206"/>
                    </a:lnTo>
                    <a:lnTo>
                      <a:pt x="82" y="240"/>
                    </a:lnTo>
                    <a:lnTo>
                      <a:pt x="60" y="276"/>
                    </a:lnTo>
                    <a:lnTo>
                      <a:pt x="40" y="316"/>
                    </a:lnTo>
                    <a:lnTo>
                      <a:pt x="24" y="358"/>
                    </a:lnTo>
                    <a:lnTo>
                      <a:pt x="12" y="402"/>
                    </a:lnTo>
                    <a:lnTo>
                      <a:pt x="4" y="448"/>
                    </a:lnTo>
                    <a:lnTo>
                      <a:pt x="0" y="496"/>
                    </a:lnTo>
                    <a:lnTo>
                      <a:pt x="2" y="546"/>
                    </a:lnTo>
                    <a:lnTo>
                      <a:pt x="6" y="596"/>
                    </a:lnTo>
                    <a:lnTo>
                      <a:pt x="16" y="646"/>
                    </a:lnTo>
                    <a:lnTo>
                      <a:pt x="24" y="672"/>
                    </a:lnTo>
                    <a:lnTo>
                      <a:pt x="32" y="696"/>
                    </a:lnTo>
                    <a:lnTo>
                      <a:pt x="32" y="696"/>
                    </a:lnTo>
                    <a:lnTo>
                      <a:pt x="78" y="696"/>
                    </a:lnTo>
                    <a:lnTo>
                      <a:pt x="100" y="356"/>
                    </a:lnTo>
                    <a:lnTo>
                      <a:pt x="656" y="358"/>
                    </a:lnTo>
                    <a:lnTo>
                      <a:pt x="680" y="696"/>
                    </a:lnTo>
                    <a:lnTo>
                      <a:pt x="680" y="696"/>
                    </a:lnTo>
                    <a:lnTo>
                      <a:pt x="722" y="696"/>
                    </a:lnTo>
                    <a:lnTo>
                      <a:pt x="722" y="696"/>
                    </a:lnTo>
                    <a:lnTo>
                      <a:pt x="736" y="644"/>
                    </a:lnTo>
                    <a:lnTo>
                      <a:pt x="746" y="594"/>
                    </a:lnTo>
                    <a:lnTo>
                      <a:pt x="750" y="544"/>
                    </a:lnTo>
                    <a:lnTo>
                      <a:pt x="752" y="496"/>
                    </a:lnTo>
                    <a:lnTo>
                      <a:pt x="748" y="448"/>
                    </a:lnTo>
                    <a:lnTo>
                      <a:pt x="742" y="404"/>
                    </a:lnTo>
                    <a:lnTo>
                      <a:pt x="730" y="360"/>
                    </a:lnTo>
                    <a:lnTo>
                      <a:pt x="718" y="320"/>
                    </a:lnTo>
                    <a:lnTo>
                      <a:pt x="700" y="282"/>
                    </a:lnTo>
                    <a:lnTo>
                      <a:pt x="680" y="246"/>
                    </a:lnTo>
                    <a:lnTo>
                      <a:pt x="656" y="214"/>
                    </a:lnTo>
                    <a:lnTo>
                      <a:pt x="630" y="184"/>
                    </a:lnTo>
                    <a:lnTo>
                      <a:pt x="602" y="158"/>
                    </a:lnTo>
                    <a:lnTo>
                      <a:pt x="570" y="136"/>
                    </a:lnTo>
                    <a:lnTo>
                      <a:pt x="536" y="118"/>
                    </a:lnTo>
                    <a:lnTo>
                      <a:pt x="502" y="10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2005"/>
              <p:cNvSpPr>
                <a:spLocks/>
              </p:cNvSpPr>
              <p:nvPr/>
            </p:nvSpPr>
            <p:spPr bwMode="auto">
              <a:xfrm>
                <a:off x="11245851" y="689794"/>
                <a:ext cx="434975" cy="317500"/>
              </a:xfrm>
              <a:custGeom>
                <a:avLst/>
                <a:gdLst>
                  <a:gd name="T0" fmla="*/ 0 w 274"/>
                  <a:gd name="T1" fmla="*/ 200 h 200"/>
                  <a:gd name="T2" fmla="*/ 0 w 274"/>
                  <a:gd name="T3" fmla="*/ 200 h 200"/>
                  <a:gd name="T4" fmla="*/ 28 w 274"/>
                  <a:gd name="T5" fmla="*/ 168 h 200"/>
                  <a:gd name="T6" fmla="*/ 60 w 274"/>
                  <a:gd name="T7" fmla="*/ 134 h 200"/>
                  <a:gd name="T8" fmla="*/ 98 w 274"/>
                  <a:gd name="T9" fmla="*/ 100 h 200"/>
                  <a:gd name="T10" fmla="*/ 136 w 274"/>
                  <a:gd name="T11" fmla="*/ 66 h 200"/>
                  <a:gd name="T12" fmla="*/ 172 w 274"/>
                  <a:gd name="T13" fmla="*/ 38 h 200"/>
                  <a:gd name="T14" fmla="*/ 202 w 274"/>
                  <a:gd name="T15" fmla="*/ 16 h 200"/>
                  <a:gd name="T16" fmla="*/ 224 w 274"/>
                  <a:gd name="T17" fmla="*/ 4 h 200"/>
                  <a:gd name="T18" fmla="*/ 232 w 274"/>
                  <a:gd name="T19" fmla="*/ 0 h 200"/>
                  <a:gd name="T20" fmla="*/ 238 w 274"/>
                  <a:gd name="T21" fmla="*/ 0 h 200"/>
                  <a:gd name="T22" fmla="*/ 238 w 274"/>
                  <a:gd name="T23" fmla="*/ 0 h 200"/>
                  <a:gd name="T24" fmla="*/ 242 w 274"/>
                  <a:gd name="T25" fmla="*/ 4 h 200"/>
                  <a:gd name="T26" fmla="*/ 244 w 274"/>
                  <a:gd name="T27" fmla="*/ 8 h 200"/>
                  <a:gd name="T28" fmla="*/ 244 w 274"/>
                  <a:gd name="T29" fmla="*/ 14 h 200"/>
                  <a:gd name="T30" fmla="*/ 240 w 274"/>
                  <a:gd name="T31" fmla="*/ 20 h 200"/>
                  <a:gd name="T32" fmla="*/ 234 w 274"/>
                  <a:gd name="T33" fmla="*/ 32 h 200"/>
                  <a:gd name="T34" fmla="*/ 230 w 274"/>
                  <a:gd name="T35" fmla="*/ 38 h 200"/>
                  <a:gd name="T36" fmla="*/ 228 w 274"/>
                  <a:gd name="T37" fmla="*/ 44 h 200"/>
                  <a:gd name="T38" fmla="*/ 228 w 274"/>
                  <a:gd name="T39" fmla="*/ 44 h 200"/>
                  <a:gd name="T40" fmla="*/ 228 w 274"/>
                  <a:gd name="T41" fmla="*/ 48 h 200"/>
                  <a:gd name="T42" fmla="*/ 230 w 274"/>
                  <a:gd name="T43" fmla="*/ 50 h 200"/>
                  <a:gd name="T44" fmla="*/ 234 w 274"/>
                  <a:gd name="T45" fmla="*/ 50 h 200"/>
                  <a:gd name="T46" fmla="*/ 242 w 274"/>
                  <a:gd name="T47" fmla="*/ 48 h 200"/>
                  <a:gd name="T48" fmla="*/ 250 w 274"/>
                  <a:gd name="T49" fmla="*/ 44 h 200"/>
                  <a:gd name="T50" fmla="*/ 266 w 274"/>
                  <a:gd name="T51" fmla="*/ 36 h 200"/>
                  <a:gd name="T52" fmla="*/ 272 w 274"/>
                  <a:gd name="T53" fmla="*/ 30 h 200"/>
                  <a:gd name="T54" fmla="*/ 274 w 274"/>
                  <a:gd name="T55" fmla="*/ 124 h 200"/>
                  <a:gd name="T56" fmla="*/ 0 w 274"/>
                  <a:gd name="T57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4" h="200">
                    <a:moveTo>
                      <a:pt x="0" y="200"/>
                    </a:moveTo>
                    <a:lnTo>
                      <a:pt x="0" y="200"/>
                    </a:lnTo>
                    <a:lnTo>
                      <a:pt x="28" y="168"/>
                    </a:lnTo>
                    <a:lnTo>
                      <a:pt x="60" y="134"/>
                    </a:lnTo>
                    <a:lnTo>
                      <a:pt x="98" y="100"/>
                    </a:lnTo>
                    <a:lnTo>
                      <a:pt x="136" y="66"/>
                    </a:lnTo>
                    <a:lnTo>
                      <a:pt x="172" y="38"/>
                    </a:lnTo>
                    <a:lnTo>
                      <a:pt x="202" y="16"/>
                    </a:lnTo>
                    <a:lnTo>
                      <a:pt x="224" y="4"/>
                    </a:lnTo>
                    <a:lnTo>
                      <a:pt x="232" y="0"/>
                    </a:lnTo>
                    <a:lnTo>
                      <a:pt x="238" y="0"/>
                    </a:lnTo>
                    <a:lnTo>
                      <a:pt x="238" y="0"/>
                    </a:lnTo>
                    <a:lnTo>
                      <a:pt x="242" y="4"/>
                    </a:lnTo>
                    <a:lnTo>
                      <a:pt x="244" y="8"/>
                    </a:lnTo>
                    <a:lnTo>
                      <a:pt x="244" y="14"/>
                    </a:lnTo>
                    <a:lnTo>
                      <a:pt x="240" y="20"/>
                    </a:lnTo>
                    <a:lnTo>
                      <a:pt x="234" y="32"/>
                    </a:lnTo>
                    <a:lnTo>
                      <a:pt x="230" y="38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28" y="48"/>
                    </a:lnTo>
                    <a:lnTo>
                      <a:pt x="230" y="50"/>
                    </a:lnTo>
                    <a:lnTo>
                      <a:pt x="234" y="50"/>
                    </a:lnTo>
                    <a:lnTo>
                      <a:pt x="242" y="48"/>
                    </a:lnTo>
                    <a:lnTo>
                      <a:pt x="250" y="44"/>
                    </a:lnTo>
                    <a:lnTo>
                      <a:pt x="266" y="36"/>
                    </a:lnTo>
                    <a:lnTo>
                      <a:pt x="272" y="30"/>
                    </a:lnTo>
                    <a:lnTo>
                      <a:pt x="274" y="124"/>
                    </a:lnTo>
                    <a:lnTo>
                      <a:pt x="0" y="20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2006"/>
              <p:cNvSpPr>
                <a:spLocks/>
              </p:cNvSpPr>
              <p:nvPr/>
            </p:nvSpPr>
            <p:spPr bwMode="auto">
              <a:xfrm>
                <a:off x="11245851" y="689794"/>
                <a:ext cx="434975" cy="317500"/>
              </a:xfrm>
              <a:custGeom>
                <a:avLst/>
                <a:gdLst>
                  <a:gd name="T0" fmla="*/ 0 w 274"/>
                  <a:gd name="T1" fmla="*/ 200 h 200"/>
                  <a:gd name="T2" fmla="*/ 0 w 274"/>
                  <a:gd name="T3" fmla="*/ 200 h 200"/>
                  <a:gd name="T4" fmla="*/ 28 w 274"/>
                  <a:gd name="T5" fmla="*/ 168 h 200"/>
                  <a:gd name="T6" fmla="*/ 60 w 274"/>
                  <a:gd name="T7" fmla="*/ 134 h 200"/>
                  <a:gd name="T8" fmla="*/ 98 w 274"/>
                  <a:gd name="T9" fmla="*/ 100 h 200"/>
                  <a:gd name="T10" fmla="*/ 136 w 274"/>
                  <a:gd name="T11" fmla="*/ 66 h 200"/>
                  <a:gd name="T12" fmla="*/ 172 w 274"/>
                  <a:gd name="T13" fmla="*/ 38 h 200"/>
                  <a:gd name="T14" fmla="*/ 202 w 274"/>
                  <a:gd name="T15" fmla="*/ 16 h 200"/>
                  <a:gd name="T16" fmla="*/ 224 w 274"/>
                  <a:gd name="T17" fmla="*/ 4 h 200"/>
                  <a:gd name="T18" fmla="*/ 232 w 274"/>
                  <a:gd name="T19" fmla="*/ 0 h 200"/>
                  <a:gd name="T20" fmla="*/ 238 w 274"/>
                  <a:gd name="T21" fmla="*/ 0 h 200"/>
                  <a:gd name="T22" fmla="*/ 238 w 274"/>
                  <a:gd name="T23" fmla="*/ 0 h 200"/>
                  <a:gd name="T24" fmla="*/ 242 w 274"/>
                  <a:gd name="T25" fmla="*/ 4 h 200"/>
                  <a:gd name="T26" fmla="*/ 244 w 274"/>
                  <a:gd name="T27" fmla="*/ 8 h 200"/>
                  <a:gd name="T28" fmla="*/ 244 w 274"/>
                  <a:gd name="T29" fmla="*/ 14 h 200"/>
                  <a:gd name="T30" fmla="*/ 240 w 274"/>
                  <a:gd name="T31" fmla="*/ 20 h 200"/>
                  <a:gd name="T32" fmla="*/ 234 w 274"/>
                  <a:gd name="T33" fmla="*/ 32 h 200"/>
                  <a:gd name="T34" fmla="*/ 230 w 274"/>
                  <a:gd name="T35" fmla="*/ 38 h 200"/>
                  <a:gd name="T36" fmla="*/ 228 w 274"/>
                  <a:gd name="T37" fmla="*/ 44 h 200"/>
                  <a:gd name="T38" fmla="*/ 228 w 274"/>
                  <a:gd name="T39" fmla="*/ 44 h 200"/>
                  <a:gd name="T40" fmla="*/ 228 w 274"/>
                  <a:gd name="T41" fmla="*/ 48 h 200"/>
                  <a:gd name="T42" fmla="*/ 230 w 274"/>
                  <a:gd name="T43" fmla="*/ 50 h 200"/>
                  <a:gd name="T44" fmla="*/ 234 w 274"/>
                  <a:gd name="T45" fmla="*/ 50 h 200"/>
                  <a:gd name="T46" fmla="*/ 242 w 274"/>
                  <a:gd name="T47" fmla="*/ 48 h 200"/>
                  <a:gd name="T48" fmla="*/ 250 w 274"/>
                  <a:gd name="T49" fmla="*/ 44 h 200"/>
                  <a:gd name="T50" fmla="*/ 266 w 274"/>
                  <a:gd name="T51" fmla="*/ 36 h 200"/>
                  <a:gd name="T52" fmla="*/ 272 w 274"/>
                  <a:gd name="T53" fmla="*/ 30 h 200"/>
                  <a:gd name="T54" fmla="*/ 274 w 274"/>
                  <a:gd name="T55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74" h="200">
                    <a:moveTo>
                      <a:pt x="0" y="200"/>
                    </a:moveTo>
                    <a:lnTo>
                      <a:pt x="0" y="200"/>
                    </a:lnTo>
                    <a:lnTo>
                      <a:pt x="28" y="168"/>
                    </a:lnTo>
                    <a:lnTo>
                      <a:pt x="60" y="134"/>
                    </a:lnTo>
                    <a:lnTo>
                      <a:pt x="98" y="100"/>
                    </a:lnTo>
                    <a:lnTo>
                      <a:pt x="136" y="66"/>
                    </a:lnTo>
                    <a:lnTo>
                      <a:pt x="172" y="38"/>
                    </a:lnTo>
                    <a:lnTo>
                      <a:pt x="202" y="16"/>
                    </a:lnTo>
                    <a:lnTo>
                      <a:pt x="224" y="4"/>
                    </a:lnTo>
                    <a:lnTo>
                      <a:pt x="232" y="0"/>
                    </a:lnTo>
                    <a:lnTo>
                      <a:pt x="238" y="0"/>
                    </a:lnTo>
                    <a:lnTo>
                      <a:pt x="238" y="0"/>
                    </a:lnTo>
                    <a:lnTo>
                      <a:pt x="242" y="4"/>
                    </a:lnTo>
                    <a:lnTo>
                      <a:pt x="244" y="8"/>
                    </a:lnTo>
                    <a:lnTo>
                      <a:pt x="244" y="14"/>
                    </a:lnTo>
                    <a:lnTo>
                      <a:pt x="240" y="20"/>
                    </a:lnTo>
                    <a:lnTo>
                      <a:pt x="234" y="32"/>
                    </a:lnTo>
                    <a:lnTo>
                      <a:pt x="230" y="38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28" y="48"/>
                    </a:lnTo>
                    <a:lnTo>
                      <a:pt x="230" y="50"/>
                    </a:lnTo>
                    <a:lnTo>
                      <a:pt x="234" y="50"/>
                    </a:lnTo>
                    <a:lnTo>
                      <a:pt x="242" y="48"/>
                    </a:lnTo>
                    <a:lnTo>
                      <a:pt x="250" y="44"/>
                    </a:lnTo>
                    <a:lnTo>
                      <a:pt x="266" y="36"/>
                    </a:lnTo>
                    <a:lnTo>
                      <a:pt x="272" y="30"/>
                    </a:lnTo>
                    <a:lnTo>
                      <a:pt x="274" y="1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2007"/>
              <p:cNvSpPr>
                <a:spLocks/>
              </p:cNvSpPr>
              <p:nvPr/>
            </p:nvSpPr>
            <p:spPr bwMode="auto">
              <a:xfrm>
                <a:off x="11620501" y="1816919"/>
                <a:ext cx="165100" cy="41275"/>
              </a:xfrm>
              <a:custGeom>
                <a:avLst/>
                <a:gdLst>
                  <a:gd name="T0" fmla="*/ 96 w 104"/>
                  <a:gd name="T1" fmla="*/ 0 h 26"/>
                  <a:gd name="T2" fmla="*/ 96 w 104"/>
                  <a:gd name="T3" fmla="*/ 0 h 26"/>
                  <a:gd name="T4" fmla="*/ 92 w 104"/>
                  <a:gd name="T5" fmla="*/ 2 h 26"/>
                  <a:gd name="T6" fmla="*/ 92 w 104"/>
                  <a:gd name="T7" fmla="*/ 2 h 26"/>
                  <a:gd name="T8" fmla="*/ 92 w 104"/>
                  <a:gd name="T9" fmla="*/ 2 h 26"/>
                  <a:gd name="T10" fmla="*/ 92 w 104"/>
                  <a:gd name="T11" fmla="*/ 2 h 26"/>
                  <a:gd name="T12" fmla="*/ 92 w 104"/>
                  <a:gd name="T13" fmla="*/ 2 h 26"/>
                  <a:gd name="T14" fmla="*/ 82 w 104"/>
                  <a:gd name="T15" fmla="*/ 6 h 26"/>
                  <a:gd name="T16" fmla="*/ 68 w 104"/>
                  <a:gd name="T17" fmla="*/ 10 h 26"/>
                  <a:gd name="T18" fmla="*/ 52 w 104"/>
                  <a:gd name="T19" fmla="*/ 10 h 26"/>
                  <a:gd name="T20" fmla="*/ 52 w 104"/>
                  <a:gd name="T21" fmla="*/ 10 h 26"/>
                  <a:gd name="T22" fmla="*/ 36 w 104"/>
                  <a:gd name="T23" fmla="*/ 10 h 26"/>
                  <a:gd name="T24" fmla="*/ 22 w 104"/>
                  <a:gd name="T25" fmla="*/ 6 h 26"/>
                  <a:gd name="T26" fmla="*/ 22 w 104"/>
                  <a:gd name="T27" fmla="*/ 6 h 26"/>
                  <a:gd name="T28" fmla="*/ 14 w 104"/>
                  <a:gd name="T29" fmla="*/ 2 h 26"/>
                  <a:gd name="T30" fmla="*/ 14 w 104"/>
                  <a:gd name="T31" fmla="*/ 2 h 26"/>
                  <a:gd name="T32" fmla="*/ 12 w 104"/>
                  <a:gd name="T33" fmla="*/ 2 h 26"/>
                  <a:gd name="T34" fmla="*/ 12 w 104"/>
                  <a:gd name="T35" fmla="*/ 2 h 26"/>
                  <a:gd name="T36" fmla="*/ 12 w 104"/>
                  <a:gd name="T37" fmla="*/ 2 h 26"/>
                  <a:gd name="T38" fmla="*/ 12 w 104"/>
                  <a:gd name="T39" fmla="*/ 2 h 26"/>
                  <a:gd name="T40" fmla="*/ 12 w 104"/>
                  <a:gd name="T41" fmla="*/ 2 h 26"/>
                  <a:gd name="T42" fmla="*/ 12 w 104"/>
                  <a:gd name="T43" fmla="*/ 2 h 26"/>
                  <a:gd name="T44" fmla="*/ 12 w 104"/>
                  <a:gd name="T45" fmla="*/ 2 h 26"/>
                  <a:gd name="T46" fmla="*/ 12 w 104"/>
                  <a:gd name="T47" fmla="*/ 2 h 26"/>
                  <a:gd name="T48" fmla="*/ 8 w 104"/>
                  <a:gd name="T49" fmla="*/ 0 h 26"/>
                  <a:gd name="T50" fmla="*/ 8 w 104"/>
                  <a:gd name="T51" fmla="*/ 0 h 26"/>
                  <a:gd name="T52" fmla="*/ 4 w 104"/>
                  <a:gd name="T53" fmla="*/ 0 h 26"/>
                  <a:gd name="T54" fmla="*/ 2 w 104"/>
                  <a:gd name="T55" fmla="*/ 4 h 26"/>
                  <a:gd name="T56" fmla="*/ 2 w 104"/>
                  <a:gd name="T57" fmla="*/ 4 h 26"/>
                  <a:gd name="T58" fmla="*/ 0 w 104"/>
                  <a:gd name="T59" fmla="*/ 6 h 26"/>
                  <a:gd name="T60" fmla="*/ 0 w 104"/>
                  <a:gd name="T61" fmla="*/ 10 h 26"/>
                  <a:gd name="T62" fmla="*/ 2 w 104"/>
                  <a:gd name="T63" fmla="*/ 12 h 26"/>
                  <a:gd name="T64" fmla="*/ 4 w 104"/>
                  <a:gd name="T65" fmla="*/ 14 h 26"/>
                  <a:gd name="T66" fmla="*/ 4 w 104"/>
                  <a:gd name="T67" fmla="*/ 14 h 26"/>
                  <a:gd name="T68" fmla="*/ 8 w 104"/>
                  <a:gd name="T69" fmla="*/ 16 h 26"/>
                  <a:gd name="T70" fmla="*/ 18 w 104"/>
                  <a:gd name="T71" fmla="*/ 20 h 26"/>
                  <a:gd name="T72" fmla="*/ 32 w 104"/>
                  <a:gd name="T73" fmla="*/ 24 h 26"/>
                  <a:gd name="T74" fmla="*/ 52 w 104"/>
                  <a:gd name="T75" fmla="*/ 26 h 26"/>
                  <a:gd name="T76" fmla="*/ 52 w 104"/>
                  <a:gd name="T77" fmla="*/ 26 h 26"/>
                  <a:gd name="T78" fmla="*/ 72 w 104"/>
                  <a:gd name="T79" fmla="*/ 24 h 26"/>
                  <a:gd name="T80" fmla="*/ 88 w 104"/>
                  <a:gd name="T81" fmla="*/ 20 h 26"/>
                  <a:gd name="T82" fmla="*/ 98 w 104"/>
                  <a:gd name="T83" fmla="*/ 16 h 26"/>
                  <a:gd name="T84" fmla="*/ 102 w 104"/>
                  <a:gd name="T85" fmla="*/ 14 h 26"/>
                  <a:gd name="T86" fmla="*/ 102 w 104"/>
                  <a:gd name="T87" fmla="*/ 14 h 26"/>
                  <a:gd name="T88" fmla="*/ 104 w 104"/>
                  <a:gd name="T89" fmla="*/ 12 h 26"/>
                  <a:gd name="T90" fmla="*/ 104 w 104"/>
                  <a:gd name="T91" fmla="*/ 10 h 26"/>
                  <a:gd name="T92" fmla="*/ 104 w 104"/>
                  <a:gd name="T93" fmla="*/ 6 h 26"/>
                  <a:gd name="T94" fmla="*/ 104 w 104"/>
                  <a:gd name="T95" fmla="*/ 4 h 26"/>
                  <a:gd name="T96" fmla="*/ 104 w 104"/>
                  <a:gd name="T97" fmla="*/ 4 h 26"/>
                  <a:gd name="T98" fmla="*/ 100 w 104"/>
                  <a:gd name="T99" fmla="*/ 0 h 26"/>
                  <a:gd name="T100" fmla="*/ 96 w 104"/>
                  <a:gd name="T10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4" h="26">
                    <a:moveTo>
                      <a:pt x="96" y="0"/>
                    </a:moveTo>
                    <a:lnTo>
                      <a:pt x="96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2" y="6"/>
                    </a:lnTo>
                    <a:lnTo>
                      <a:pt x="6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36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6"/>
                    </a:lnTo>
                    <a:lnTo>
                      <a:pt x="18" y="20"/>
                    </a:lnTo>
                    <a:lnTo>
                      <a:pt x="32" y="24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72" y="24"/>
                    </a:lnTo>
                    <a:lnTo>
                      <a:pt x="88" y="20"/>
                    </a:lnTo>
                    <a:lnTo>
                      <a:pt x="98" y="16"/>
                    </a:lnTo>
                    <a:lnTo>
                      <a:pt x="102" y="14"/>
                    </a:lnTo>
                    <a:lnTo>
                      <a:pt x="102" y="14"/>
                    </a:lnTo>
                    <a:lnTo>
                      <a:pt x="104" y="12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0" y="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6E4E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2008"/>
              <p:cNvSpPr>
                <a:spLocks/>
              </p:cNvSpPr>
              <p:nvPr/>
            </p:nvSpPr>
            <p:spPr bwMode="auto">
              <a:xfrm>
                <a:off x="11620501" y="1816919"/>
                <a:ext cx="165100" cy="41275"/>
              </a:xfrm>
              <a:custGeom>
                <a:avLst/>
                <a:gdLst>
                  <a:gd name="T0" fmla="*/ 96 w 104"/>
                  <a:gd name="T1" fmla="*/ 0 h 26"/>
                  <a:gd name="T2" fmla="*/ 96 w 104"/>
                  <a:gd name="T3" fmla="*/ 0 h 26"/>
                  <a:gd name="T4" fmla="*/ 92 w 104"/>
                  <a:gd name="T5" fmla="*/ 2 h 26"/>
                  <a:gd name="T6" fmla="*/ 92 w 104"/>
                  <a:gd name="T7" fmla="*/ 2 h 26"/>
                  <a:gd name="T8" fmla="*/ 92 w 104"/>
                  <a:gd name="T9" fmla="*/ 2 h 26"/>
                  <a:gd name="T10" fmla="*/ 92 w 104"/>
                  <a:gd name="T11" fmla="*/ 2 h 26"/>
                  <a:gd name="T12" fmla="*/ 92 w 104"/>
                  <a:gd name="T13" fmla="*/ 2 h 26"/>
                  <a:gd name="T14" fmla="*/ 82 w 104"/>
                  <a:gd name="T15" fmla="*/ 6 h 26"/>
                  <a:gd name="T16" fmla="*/ 68 w 104"/>
                  <a:gd name="T17" fmla="*/ 10 h 26"/>
                  <a:gd name="T18" fmla="*/ 52 w 104"/>
                  <a:gd name="T19" fmla="*/ 10 h 26"/>
                  <a:gd name="T20" fmla="*/ 52 w 104"/>
                  <a:gd name="T21" fmla="*/ 10 h 26"/>
                  <a:gd name="T22" fmla="*/ 36 w 104"/>
                  <a:gd name="T23" fmla="*/ 10 h 26"/>
                  <a:gd name="T24" fmla="*/ 22 w 104"/>
                  <a:gd name="T25" fmla="*/ 6 h 26"/>
                  <a:gd name="T26" fmla="*/ 22 w 104"/>
                  <a:gd name="T27" fmla="*/ 6 h 26"/>
                  <a:gd name="T28" fmla="*/ 14 w 104"/>
                  <a:gd name="T29" fmla="*/ 2 h 26"/>
                  <a:gd name="T30" fmla="*/ 14 w 104"/>
                  <a:gd name="T31" fmla="*/ 2 h 26"/>
                  <a:gd name="T32" fmla="*/ 12 w 104"/>
                  <a:gd name="T33" fmla="*/ 2 h 26"/>
                  <a:gd name="T34" fmla="*/ 12 w 104"/>
                  <a:gd name="T35" fmla="*/ 2 h 26"/>
                  <a:gd name="T36" fmla="*/ 12 w 104"/>
                  <a:gd name="T37" fmla="*/ 2 h 26"/>
                  <a:gd name="T38" fmla="*/ 12 w 104"/>
                  <a:gd name="T39" fmla="*/ 2 h 26"/>
                  <a:gd name="T40" fmla="*/ 12 w 104"/>
                  <a:gd name="T41" fmla="*/ 2 h 26"/>
                  <a:gd name="T42" fmla="*/ 12 w 104"/>
                  <a:gd name="T43" fmla="*/ 2 h 26"/>
                  <a:gd name="T44" fmla="*/ 12 w 104"/>
                  <a:gd name="T45" fmla="*/ 2 h 26"/>
                  <a:gd name="T46" fmla="*/ 12 w 104"/>
                  <a:gd name="T47" fmla="*/ 2 h 26"/>
                  <a:gd name="T48" fmla="*/ 8 w 104"/>
                  <a:gd name="T49" fmla="*/ 0 h 26"/>
                  <a:gd name="T50" fmla="*/ 8 w 104"/>
                  <a:gd name="T51" fmla="*/ 0 h 26"/>
                  <a:gd name="T52" fmla="*/ 4 w 104"/>
                  <a:gd name="T53" fmla="*/ 0 h 26"/>
                  <a:gd name="T54" fmla="*/ 2 w 104"/>
                  <a:gd name="T55" fmla="*/ 4 h 26"/>
                  <a:gd name="T56" fmla="*/ 2 w 104"/>
                  <a:gd name="T57" fmla="*/ 4 h 26"/>
                  <a:gd name="T58" fmla="*/ 0 w 104"/>
                  <a:gd name="T59" fmla="*/ 6 h 26"/>
                  <a:gd name="T60" fmla="*/ 0 w 104"/>
                  <a:gd name="T61" fmla="*/ 10 h 26"/>
                  <a:gd name="T62" fmla="*/ 2 w 104"/>
                  <a:gd name="T63" fmla="*/ 12 h 26"/>
                  <a:gd name="T64" fmla="*/ 4 w 104"/>
                  <a:gd name="T65" fmla="*/ 14 h 26"/>
                  <a:gd name="T66" fmla="*/ 4 w 104"/>
                  <a:gd name="T67" fmla="*/ 14 h 26"/>
                  <a:gd name="T68" fmla="*/ 8 w 104"/>
                  <a:gd name="T69" fmla="*/ 16 h 26"/>
                  <a:gd name="T70" fmla="*/ 18 w 104"/>
                  <a:gd name="T71" fmla="*/ 20 h 26"/>
                  <a:gd name="T72" fmla="*/ 32 w 104"/>
                  <a:gd name="T73" fmla="*/ 24 h 26"/>
                  <a:gd name="T74" fmla="*/ 52 w 104"/>
                  <a:gd name="T75" fmla="*/ 26 h 26"/>
                  <a:gd name="T76" fmla="*/ 52 w 104"/>
                  <a:gd name="T77" fmla="*/ 26 h 26"/>
                  <a:gd name="T78" fmla="*/ 72 w 104"/>
                  <a:gd name="T79" fmla="*/ 24 h 26"/>
                  <a:gd name="T80" fmla="*/ 88 w 104"/>
                  <a:gd name="T81" fmla="*/ 20 h 26"/>
                  <a:gd name="T82" fmla="*/ 98 w 104"/>
                  <a:gd name="T83" fmla="*/ 16 h 26"/>
                  <a:gd name="T84" fmla="*/ 102 w 104"/>
                  <a:gd name="T85" fmla="*/ 14 h 26"/>
                  <a:gd name="T86" fmla="*/ 102 w 104"/>
                  <a:gd name="T87" fmla="*/ 14 h 26"/>
                  <a:gd name="T88" fmla="*/ 104 w 104"/>
                  <a:gd name="T89" fmla="*/ 12 h 26"/>
                  <a:gd name="T90" fmla="*/ 104 w 104"/>
                  <a:gd name="T91" fmla="*/ 10 h 26"/>
                  <a:gd name="T92" fmla="*/ 104 w 104"/>
                  <a:gd name="T93" fmla="*/ 6 h 26"/>
                  <a:gd name="T94" fmla="*/ 104 w 104"/>
                  <a:gd name="T95" fmla="*/ 4 h 26"/>
                  <a:gd name="T96" fmla="*/ 104 w 104"/>
                  <a:gd name="T97" fmla="*/ 4 h 26"/>
                  <a:gd name="T98" fmla="*/ 100 w 104"/>
                  <a:gd name="T99" fmla="*/ 0 h 26"/>
                  <a:gd name="T100" fmla="*/ 96 w 104"/>
                  <a:gd name="T10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4" h="26">
                    <a:moveTo>
                      <a:pt x="96" y="0"/>
                    </a:moveTo>
                    <a:lnTo>
                      <a:pt x="96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2" y="6"/>
                    </a:lnTo>
                    <a:lnTo>
                      <a:pt x="6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36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6"/>
                    </a:lnTo>
                    <a:lnTo>
                      <a:pt x="18" y="20"/>
                    </a:lnTo>
                    <a:lnTo>
                      <a:pt x="32" y="24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72" y="24"/>
                    </a:lnTo>
                    <a:lnTo>
                      <a:pt x="88" y="20"/>
                    </a:lnTo>
                    <a:lnTo>
                      <a:pt x="98" y="16"/>
                    </a:lnTo>
                    <a:lnTo>
                      <a:pt x="102" y="14"/>
                    </a:lnTo>
                    <a:lnTo>
                      <a:pt x="102" y="14"/>
                    </a:lnTo>
                    <a:lnTo>
                      <a:pt x="104" y="12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0" y="0"/>
                    </a:lnTo>
                    <a:lnTo>
                      <a:pt x="9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2009"/>
              <p:cNvSpPr>
                <a:spLocks/>
              </p:cNvSpPr>
              <p:nvPr/>
            </p:nvSpPr>
            <p:spPr bwMode="auto">
              <a:xfrm>
                <a:off x="11620501" y="1194619"/>
                <a:ext cx="377825" cy="130175"/>
              </a:xfrm>
              <a:custGeom>
                <a:avLst/>
                <a:gdLst>
                  <a:gd name="T0" fmla="*/ 0 w 238"/>
                  <a:gd name="T1" fmla="*/ 0 h 82"/>
                  <a:gd name="T2" fmla="*/ 0 w 238"/>
                  <a:gd name="T3" fmla="*/ 0 h 82"/>
                  <a:gd name="T4" fmla="*/ 14 w 238"/>
                  <a:gd name="T5" fmla="*/ 12 h 82"/>
                  <a:gd name="T6" fmla="*/ 32 w 238"/>
                  <a:gd name="T7" fmla="*/ 24 h 82"/>
                  <a:gd name="T8" fmla="*/ 54 w 238"/>
                  <a:gd name="T9" fmla="*/ 36 h 82"/>
                  <a:gd name="T10" fmla="*/ 82 w 238"/>
                  <a:gd name="T11" fmla="*/ 50 h 82"/>
                  <a:gd name="T12" fmla="*/ 112 w 238"/>
                  <a:gd name="T13" fmla="*/ 60 h 82"/>
                  <a:gd name="T14" fmla="*/ 144 w 238"/>
                  <a:gd name="T15" fmla="*/ 70 h 82"/>
                  <a:gd name="T16" fmla="*/ 178 w 238"/>
                  <a:gd name="T17" fmla="*/ 78 h 82"/>
                  <a:gd name="T18" fmla="*/ 212 w 238"/>
                  <a:gd name="T19" fmla="*/ 82 h 82"/>
                  <a:gd name="T20" fmla="*/ 212 w 238"/>
                  <a:gd name="T21" fmla="*/ 82 h 82"/>
                  <a:gd name="T22" fmla="*/ 226 w 238"/>
                  <a:gd name="T23" fmla="*/ 82 h 82"/>
                  <a:gd name="T24" fmla="*/ 234 w 238"/>
                  <a:gd name="T25" fmla="*/ 82 h 82"/>
                  <a:gd name="T26" fmla="*/ 238 w 238"/>
                  <a:gd name="T27" fmla="*/ 78 h 82"/>
                  <a:gd name="T28" fmla="*/ 236 w 238"/>
                  <a:gd name="T29" fmla="*/ 74 h 82"/>
                  <a:gd name="T30" fmla="*/ 232 w 238"/>
                  <a:gd name="T31" fmla="*/ 70 h 82"/>
                  <a:gd name="T32" fmla="*/ 226 w 238"/>
                  <a:gd name="T33" fmla="*/ 64 h 82"/>
                  <a:gd name="T34" fmla="*/ 206 w 238"/>
                  <a:gd name="T35" fmla="*/ 50 h 82"/>
                  <a:gd name="T36" fmla="*/ 180 w 238"/>
                  <a:gd name="T37" fmla="*/ 36 h 82"/>
                  <a:gd name="T38" fmla="*/ 152 w 238"/>
                  <a:gd name="T39" fmla="*/ 22 h 82"/>
                  <a:gd name="T40" fmla="*/ 112 w 238"/>
                  <a:gd name="T41" fmla="*/ 4 h 82"/>
                  <a:gd name="T42" fmla="*/ 112 w 238"/>
                  <a:gd name="T43" fmla="*/ 4 h 82"/>
                  <a:gd name="T44" fmla="*/ 106 w 238"/>
                  <a:gd name="T45" fmla="*/ 2 h 82"/>
                  <a:gd name="T46" fmla="*/ 100 w 238"/>
                  <a:gd name="T47" fmla="*/ 0 h 82"/>
                  <a:gd name="T48" fmla="*/ 0 w 238"/>
                  <a:gd name="T4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8" h="82">
                    <a:moveTo>
                      <a:pt x="0" y="0"/>
                    </a:moveTo>
                    <a:lnTo>
                      <a:pt x="0" y="0"/>
                    </a:lnTo>
                    <a:lnTo>
                      <a:pt x="14" y="12"/>
                    </a:lnTo>
                    <a:lnTo>
                      <a:pt x="32" y="24"/>
                    </a:lnTo>
                    <a:lnTo>
                      <a:pt x="54" y="36"/>
                    </a:lnTo>
                    <a:lnTo>
                      <a:pt x="82" y="50"/>
                    </a:lnTo>
                    <a:lnTo>
                      <a:pt x="112" y="60"/>
                    </a:lnTo>
                    <a:lnTo>
                      <a:pt x="144" y="70"/>
                    </a:lnTo>
                    <a:lnTo>
                      <a:pt x="178" y="78"/>
                    </a:lnTo>
                    <a:lnTo>
                      <a:pt x="212" y="82"/>
                    </a:lnTo>
                    <a:lnTo>
                      <a:pt x="212" y="82"/>
                    </a:lnTo>
                    <a:lnTo>
                      <a:pt x="226" y="82"/>
                    </a:lnTo>
                    <a:lnTo>
                      <a:pt x="234" y="82"/>
                    </a:lnTo>
                    <a:lnTo>
                      <a:pt x="238" y="78"/>
                    </a:lnTo>
                    <a:lnTo>
                      <a:pt x="236" y="74"/>
                    </a:lnTo>
                    <a:lnTo>
                      <a:pt x="232" y="70"/>
                    </a:lnTo>
                    <a:lnTo>
                      <a:pt x="226" y="64"/>
                    </a:lnTo>
                    <a:lnTo>
                      <a:pt x="206" y="50"/>
                    </a:lnTo>
                    <a:lnTo>
                      <a:pt x="180" y="36"/>
                    </a:lnTo>
                    <a:lnTo>
                      <a:pt x="152" y="22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2010"/>
              <p:cNvSpPr>
                <a:spLocks/>
              </p:cNvSpPr>
              <p:nvPr/>
            </p:nvSpPr>
            <p:spPr bwMode="auto">
              <a:xfrm>
                <a:off x="11620501" y="1194619"/>
                <a:ext cx="377825" cy="130175"/>
              </a:xfrm>
              <a:custGeom>
                <a:avLst/>
                <a:gdLst>
                  <a:gd name="T0" fmla="*/ 0 w 238"/>
                  <a:gd name="T1" fmla="*/ 0 h 82"/>
                  <a:gd name="T2" fmla="*/ 0 w 238"/>
                  <a:gd name="T3" fmla="*/ 0 h 82"/>
                  <a:gd name="T4" fmla="*/ 14 w 238"/>
                  <a:gd name="T5" fmla="*/ 12 h 82"/>
                  <a:gd name="T6" fmla="*/ 32 w 238"/>
                  <a:gd name="T7" fmla="*/ 24 h 82"/>
                  <a:gd name="T8" fmla="*/ 54 w 238"/>
                  <a:gd name="T9" fmla="*/ 36 h 82"/>
                  <a:gd name="T10" fmla="*/ 82 w 238"/>
                  <a:gd name="T11" fmla="*/ 50 h 82"/>
                  <a:gd name="T12" fmla="*/ 112 w 238"/>
                  <a:gd name="T13" fmla="*/ 60 h 82"/>
                  <a:gd name="T14" fmla="*/ 144 w 238"/>
                  <a:gd name="T15" fmla="*/ 70 h 82"/>
                  <a:gd name="T16" fmla="*/ 178 w 238"/>
                  <a:gd name="T17" fmla="*/ 78 h 82"/>
                  <a:gd name="T18" fmla="*/ 212 w 238"/>
                  <a:gd name="T19" fmla="*/ 82 h 82"/>
                  <a:gd name="T20" fmla="*/ 212 w 238"/>
                  <a:gd name="T21" fmla="*/ 82 h 82"/>
                  <a:gd name="T22" fmla="*/ 226 w 238"/>
                  <a:gd name="T23" fmla="*/ 82 h 82"/>
                  <a:gd name="T24" fmla="*/ 234 w 238"/>
                  <a:gd name="T25" fmla="*/ 82 h 82"/>
                  <a:gd name="T26" fmla="*/ 238 w 238"/>
                  <a:gd name="T27" fmla="*/ 78 h 82"/>
                  <a:gd name="T28" fmla="*/ 236 w 238"/>
                  <a:gd name="T29" fmla="*/ 74 h 82"/>
                  <a:gd name="T30" fmla="*/ 232 w 238"/>
                  <a:gd name="T31" fmla="*/ 70 h 82"/>
                  <a:gd name="T32" fmla="*/ 226 w 238"/>
                  <a:gd name="T33" fmla="*/ 64 h 82"/>
                  <a:gd name="T34" fmla="*/ 206 w 238"/>
                  <a:gd name="T35" fmla="*/ 50 h 82"/>
                  <a:gd name="T36" fmla="*/ 180 w 238"/>
                  <a:gd name="T37" fmla="*/ 36 h 82"/>
                  <a:gd name="T38" fmla="*/ 152 w 238"/>
                  <a:gd name="T39" fmla="*/ 22 h 82"/>
                  <a:gd name="T40" fmla="*/ 112 w 238"/>
                  <a:gd name="T41" fmla="*/ 4 h 82"/>
                  <a:gd name="T42" fmla="*/ 112 w 238"/>
                  <a:gd name="T43" fmla="*/ 4 h 82"/>
                  <a:gd name="T44" fmla="*/ 106 w 238"/>
                  <a:gd name="T45" fmla="*/ 2 h 82"/>
                  <a:gd name="T46" fmla="*/ 100 w 238"/>
                  <a:gd name="T47" fmla="*/ 0 h 82"/>
                  <a:gd name="T48" fmla="*/ 0 w 238"/>
                  <a:gd name="T4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8" h="82">
                    <a:moveTo>
                      <a:pt x="0" y="0"/>
                    </a:moveTo>
                    <a:lnTo>
                      <a:pt x="0" y="0"/>
                    </a:lnTo>
                    <a:lnTo>
                      <a:pt x="14" y="12"/>
                    </a:lnTo>
                    <a:lnTo>
                      <a:pt x="32" y="24"/>
                    </a:lnTo>
                    <a:lnTo>
                      <a:pt x="54" y="36"/>
                    </a:lnTo>
                    <a:lnTo>
                      <a:pt x="82" y="50"/>
                    </a:lnTo>
                    <a:lnTo>
                      <a:pt x="112" y="60"/>
                    </a:lnTo>
                    <a:lnTo>
                      <a:pt x="144" y="70"/>
                    </a:lnTo>
                    <a:lnTo>
                      <a:pt x="178" y="78"/>
                    </a:lnTo>
                    <a:lnTo>
                      <a:pt x="212" y="82"/>
                    </a:lnTo>
                    <a:lnTo>
                      <a:pt x="212" y="82"/>
                    </a:lnTo>
                    <a:lnTo>
                      <a:pt x="226" y="82"/>
                    </a:lnTo>
                    <a:lnTo>
                      <a:pt x="234" y="82"/>
                    </a:lnTo>
                    <a:lnTo>
                      <a:pt x="238" y="78"/>
                    </a:lnTo>
                    <a:lnTo>
                      <a:pt x="236" y="74"/>
                    </a:lnTo>
                    <a:lnTo>
                      <a:pt x="232" y="70"/>
                    </a:lnTo>
                    <a:lnTo>
                      <a:pt x="226" y="64"/>
                    </a:lnTo>
                    <a:lnTo>
                      <a:pt x="206" y="50"/>
                    </a:lnTo>
                    <a:lnTo>
                      <a:pt x="180" y="36"/>
                    </a:lnTo>
                    <a:lnTo>
                      <a:pt x="152" y="22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2011"/>
              <p:cNvSpPr>
                <a:spLocks/>
              </p:cNvSpPr>
              <p:nvPr/>
            </p:nvSpPr>
            <p:spPr bwMode="auto">
              <a:xfrm>
                <a:off x="11788776" y="1185094"/>
                <a:ext cx="317500" cy="76200"/>
              </a:xfrm>
              <a:custGeom>
                <a:avLst/>
                <a:gdLst>
                  <a:gd name="T0" fmla="*/ 0 w 200"/>
                  <a:gd name="T1" fmla="*/ 18 h 48"/>
                  <a:gd name="T2" fmla="*/ 0 w 200"/>
                  <a:gd name="T3" fmla="*/ 18 h 48"/>
                  <a:gd name="T4" fmla="*/ 12 w 200"/>
                  <a:gd name="T5" fmla="*/ 26 h 48"/>
                  <a:gd name="T6" fmla="*/ 28 w 200"/>
                  <a:gd name="T7" fmla="*/ 32 h 48"/>
                  <a:gd name="T8" fmla="*/ 50 w 200"/>
                  <a:gd name="T9" fmla="*/ 38 h 48"/>
                  <a:gd name="T10" fmla="*/ 72 w 200"/>
                  <a:gd name="T11" fmla="*/ 42 h 48"/>
                  <a:gd name="T12" fmla="*/ 98 w 200"/>
                  <a:gd name="T13" fmla="*/ 46 h 48"/>
                  <a:gd name="T14" fmla="*/ 126 w 200"/>
                  <a:gd name="T15" fmla="*/ 48 h 48"/>
                  <a:gd name="T16" fmla="*/ 154 w 200"/>
                  <a:gd name="T17" fmla="*/ 48 h 48"/>
                  <a:gd name="T18" fmla="*/ 182 w 200"/>
                  <a:gd name="T19" fmla="*/ 44 h 48"/>
                  <a:gd name="T20" fmla="*/ 182 w 200"/>
                  <a:gd name="T21" fmla="*/ 44 h 48"/>
                  <a:gd name="T22" fmla="*/ 192 w 200"/>
                  <a:gd name="T23" fmla="*/ 42 h 48"/>
                  <a:gd name="T24" fmla="*/ 198 w 200"/>
                  <a:gd name="T25" fmla="*/ 40 h 48"/>
                  <a:gd name="T26" fmla="*/ 200 w 200"/>
                  <a:gd name="T27" fmla="*/ 36 h 48"/>
                  <a:gd name="T28" fmla="*/ 200 w 200"/>
                  <a:gd name="T29" fmla="*/ 34 h 48"/>
                  <a:gd name="T30" fmla="*/ 196 w 200"/>
                  <a:gd name="T31" fmla="*/ 30 h 48"/>
                  <a:gd name="T32" fmla="*/ 188 w 200"/>
                  <a:gd name="T33" fmla="*/ 28 h 48"/>
                  <a:gd name="T34" fmla="*/ 170 w 200"/>
                  <a:gd name="T35" fmla="*/ 20 h 48"/>
                  <a:gd name="T36" fmla="*/ 124 w 200"/>
                  <a:gd name="T37" fmla="*/ 8 h 48"/>
                  <a:gd name="T38" fmla="*/ 88 w 200"/>
                  <a:gd name="T39" fmla="*/ 0 h 48"/>
                  <a:gd name="T40" fmla="*/ 88 w 200"/>
                  <a:gd name="T41" fmla="*/ 0 h 48"/>
                  <a:gd name="T42" fmla="*/ 78 w 200"/>
                  <a:gd name="T43" fmla="*/ 0 h 48"/>
                  <a:gd name="T44" fmla="*/ 0 w 200"/>
                  <a:gd name="T45" fmla="*/ 1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" h="48">
                    <a:moveTo>
                      <a:pt x="0" y="18"/>
                    </a:moveTo>
                    <a:lnTo>
                      <a:pt x="0" y="18"/>
                    </a:lnTo>
                    <a:lnTo>
                      <a:pt x="12" y="26"/>
                    </a:lnTo>
                    <a:lnTo>
                      <a:pt x="28" y="32"/>
                    </a:lnTo>
                    <a:lnTo>
                      <a:pt x="50" y="38"/>
                    </a:lnTo>
                    <a:lnTo>
                      <a:pt x="72" y="42"/>
                    </a:lnTo>
                    <a:lnTo>
                      <a:pt x="98" y="46"/>
                    </a:lnTo>
                    <a:lnTo>
                      <a:pt x="126" y="48"/>
                    </a:lnTo>
                    <a:lnTo>
                      <a:pt x="154" y="48"/>
                    </a:lnTo>
                    <a:lnTo>
                      <a:pt x="182" y="44"/>
                    </a:lnTo>
                    <a:lnTo>
                      <a:pt x="182" y="44"/>
                    </a:lnTo>
                    <a:lnTo>
                      <a:pt x="192" y="42"/>
                    </a:lnTo>
                    <a:lnTo>
                      <a:pt x="198" y="40"/>
                    </a:lnTo>
                    <a:lnTo>
                      <a:pt x="200" y="36"/>
                    </a:lnTo>
                    <a:lnTo>
                      <a:pt x="200" y="34"/>
                    </a:lnTo>
                    <a:lnTo>
                      <a:pt x="196" y="30"/>
                    </a:lnTo>
                    <a:lnTo>
                      <a:pt x="188" y="28"/>
                    </a:lnTo>
                    <a:lnTo>
                      <a:pt x="170" y="20"/>
                    </a:lnTo>
                    <a:lnTo>
                      <a:pt x="124" y="8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78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2012"/>
              <p:cNvSpPr>
                <a:spLocks/>
              </p:cNvSpPr>
              <p:nvPr/>
            </p:nvSpPr>
            <p:spPr bwMode="auto">
              <a:xfrm>
                <a:off x="11788776" y="1185094"/>
                <a:ext cx="317500" cy="76200"/>
              </a:xfrm>
              <a:custGeom>
                <a:avLst/>
                <a:gdLst>
                  <a:gd name="T0" fmla="*/ 0 w 200"/>
                  <a:gd name="T1" fmla="*/ 18 h 48"/>
                  <a:gd name="T2" fmla="*/ 0 w 200"/>
                  <a:gd name="T3" fmla="*/ 18 h 48"/>
                  <a:gd name="T4" fmla="*/ 12 w 200"/>
                  <a:gd name="T5" fmla="*/ 26 h 48"/>
                  <a:gd name="T6" fmla="*/ 28 w 200"/>
                  <a:gd name="T7" fmla="*/ 32 h 48"/>
                  <a:gd name="T8" fmla="*/ 50 w 200"/>
                  <a:gd name="T9" fmla="*/ 38 h 48"/>
                  <a:gd name="T10" fmla="*/ 72 w 200"/>
                  <a:gd name="T11" fmla="*/ 42 h 48"/>
                  <a:gd name="T12" fmla="*/ 98 w 200"/>
                  <a:gd name="T13" fmla="*/ 46 h 48"/>
                  <a:gd name="T14" fmla="*/ 126 w 200"/>
                  <a:gd name="T15" fmla="*/ 48 h 48"/>
                  <a:gd name="T16" fmla="*/ 154 w 200"/>
                  <a:gd name="T17" fmla="*/ 48 h 48"/>
                  <a:gd name="T18" fmla="*/ 182 w 200"/>
                  <a:gd name="T19" fmla="*/ 44 h 48"/>
                  <a:gd name="T20" fmla="*/ 182 w 200"/>
                  <a:gd name="T21" fmla="*/ 44 h 48"/>
                  <a:gd name="T22" fmla="*/ 192 w 200"/>
                  <a:gd name="T23" fmla="*/ 42 h 48"/>
                  <a:gd name="T24" fmla="*/ 198 w 200"/>
                  <a:gd name="T25" fmla="*/ 40 h 48"/>
                  <a:gd name="T26" fmla="*/ 200 w 200"/>
                  <a:gd name="T27" fmla="*/ 36 h 48"/>
                  <a:gd name="T28" fmla="*/ 200 w 200"/>
                  <a:gd name="T29" fmla="*/ 34 h 48"/>
                  <a:gd name="T30" fmla="*/ 196 w 200"/>
                  <a:gd name="T31" fmla="*/ 30 h 48"/>
                  <a:gd name="T32" fmla="*/ 188 w 200"/>
                  <a:gd name="T33" fmla="*/ 28 h 48"/>
                  <a:gd name="T34" fmla="*/ 170 w 200"/>
                  <a:gd name="T35" fmla="*/ 20 h 48"/>
                  <a:gd name="T36" fmla="*/ 124 w 200"/>
                  <a:gd name="T37" fmla="*/ 8 h 48"/>
                  <a:gd name="T38" fmla="*/ 88 w 200"/>
                  <a:gd name="T39" fmla="*/ 0 h 48"/>
                  <a:gd name="T40" fmla="*/ 88 w 200"/>
                  <a:gd name="T41" fmla="*/ 0 h 48"/>
                  <a:gd name="T42" fmla="*/ 78 w 200"/>
                  <a:gd name="T43" fmla="*/ 0 h 48"/>
                  <a:gd name="T44" fmla="*/ 0 w 200"/>
                  <a:gd name="T45" fmla="*/ 1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" h="48">
                    <a:moveTo>
                      <a:pt x="0" y="18"/>
                    </a:moveTo>
                    <a:lnTo>
                      <a:pt x="0" y="18"/>
                    </a:lnTo>
                    <a:lnTo>
                      <a:pt x="12" y="26"/>
                    </a:lnTo>
                    <a:lnTo>
                      <a:pt x="28" y="32"/>
                    </a:lnTo>
                    <a:lnTo>
                      <a:pt x="50" y="38"/>
                    </a:lnTo>
                    <a:lnTo>
                      <a:pt x="72" y="42"/>
                    </a:lnTo>
                    <a:lnTo>
                      <a:pt x="98" y="46"/>
                    </a:lnTo>
                    <a:lnTo>
                      <a:pt x="126" y="48"/>
                    </a:lnTo>
                    <a:lnTo>
                      <a:pt x="154" y="48"/>
                    </a:lnTo>
                    <a:lnTo>
                      <a:pt x="182" y="44"/>
                    </a:lnTo>
                    <a:lnTo>
                      <a:pt x="182" y="44"/>
                    </a:lnTo>
                    <a:lnTo>
                      <a:pt x="192" y="42"/>
                    </a:lnTo>
                    <a:lnTo>
                      <a:pt x="198" y="40"/>
                    </a:lnTo>
                    <a:lnTo>
                      <a:pt x="200" y="36"/>
                    </a:lnTo>
                    <a:lnTo>
                      <a:pt x="200" y="34"/>
                    </a:lnTo>
                    <a:lnTo>
                      <a:pt x="196" y="30"/>
                    </a:lnTo>
                    <a:lnTo>
                      <a:pt x="188" y="28"/>
                    </a:lnTo>
                    <a:lnTo>
                      <a:pt x="170" y="20"/>
                    </a:lnTo>
                    <a:lnTo>
                      <a:pt x="124" y="8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78" y="0"/>
                    </a:lnTo>
                    <a:lnTo>
                      <a:pt x="0" y="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2018"/>
              <p:cNvSpPr>
                <a:spLocks/>
              </p:cNvSpPr>
              <p:nvPr/>
            </p:nvSpPr>
            <p:spPr bwMode="auto">
              <a:xfrm>
                <a:off x="11699876" y="1124769"/>
                <a:ext cx="149225" cy="82550"/>
              </a:xfrm>
              <a:custGeom>
                <a:avLst/>
                <a:gdLst>
                  <a:gd name="T0" fmla="*/ 8 w 94"/>
                  <a:gd name="T1" fmla="*/ 0 h 52"/>
                  <a:gd name="T2" fmla="*/ 8 w 94"/>
                  <a:gd name="T3" fmla="*/ 0 h 52"/>
                  <a:gd name="T4" fmla="*/ 4 w 94"/>
                  <a:gd name="T5" fmla="*/ 0 h 52"/>
                  <a:gd name="T6" fmla="*/ 2 w 94"/>
                  <a:gd name="T7" fmla="*/ 2 h 52"/>
                  <a:gd name="T8" fmla="*/ 2 w 94"/>
                  <a:gd name="T9" fmla="*/ 2 h 52"/>
                  <a:gd name="T10" fmla="*/ 0 w 94"/>
                  <a:gd name="T11" fmla="*/ 6 h 52"/>
                  <a:gd name="T12" fmla="*/ 0 w 94"/>
                  <a:gd name="T13" fmla="*/ 8 h 52"/>
                  <a:gd name="T14" fmla="*/ 0 w 94"/>
                  <a:gd name="T15" fmla="*/ 12 h 52"/>
                  <a:gd name="T16" fmla="*/ 2 w 94"/>
                  <a:gd name="T17" fmla="*/ 14 h 52"/>
                  <a:gd name="T18" fmla="*/ 2 w 94"/>
                  <a:gd name="T19" fmla="*/ 14 h 52"/>
                  <a:gd name="T20" fmla="*/ 20 w 94"/>
                  <a:gd name="T21" fmla="*/ 26 h 52"/>
                  <a:gd name="T22" fmla="*/ 20 w 94"/>
                  <a:gd name="T23" fmla="*/ 26 h 52"/>
                  <a:gd name="T24" fmla="*/ 50 w 94"/>
                  <a:gd name="T25" fmla="*/ 44 h 52"/>
                  <a:gd name="T26" fmla="*/ 50 w 94"/>
                  <a:gd name="T27" fmla="*/ 44 h 52"/>
                  <a:gd name="T28" fmla="*/ 50 w 94"/>
                  <a:gd name="T29" fmla="*/ 44 h 52"/>
                  <a:gd name="T30" fmla="*/ 56 w 94"/>
                  <a:gd name="T31" fmla="*/ 46 h 52"/>
                  <a:gd name="T32" fmla="*/ 62 w 94"/>
                  <a:gd name="T33" fmla="*/ 48 h 52"/>
                  <a:gd name="T34" fmla="*/ 62 w 94"/>
                  <a:gd name="T35" fmla="*/ 48 h 52"/>
                  <a:gd name="T36" fmla="*/ 74 w 94"/>
                  <a:gd name="T37" fmla="*/ 52 h 52"/>
                  <a:gd name="T38" fmla="*/ 94 w 94"/>
                  <a:gd name="T39" fmla="*/ 48 h 52"/>
                  <a:gd name="T40" fmla="*/ 94 w 94"/>
                  <a:gd name="T41" fmla="*/ 48 h 52"/>
                  <a:gd name="T42" fmla="*/ 80 w 94"/>
                  <a:gd name="T43" fmla="*/ 42 h 52"/>
                  <a:gd name="T44" fmla="*/ 80 w 94"/>
                  <a:gd name="T45" fmla="*/ 42 h 52"/>
                  <a:gd name="T46" fmla="*/ 42 w 94"/>
                  <a:gd name="T47" fmla="*/ 20 h 52"/>
                  <a:gd name="T48" fmla="*/ 42 w 94"/>
                  <a:gd name="T49" fmla="*/ 20 h 52"/>
                  <a:gd name="T50" fmla="*/ 24 w 94"/>
                  <a:gd name="T51" fmla="*/ 10 h 52"/>
                  <a:gd name="T52" fmla="*/ 24 w 94"/>
                  <a:gd name="T53" fmla="*/ 10 h 52"/>
                  <a:gd name="T54" fmla="*/ 12 w 94"/>
                  <a:gd name="T55" fmla="*/ 2 h 52"/>
                  <a:gd name="T56" fmla="*/ 12 w 94"/>
                  <a:gd name="T57" fmla="*/ 2 h 52"/>
                  <a:gd name="T58" fmla="*/ 8 w 94"/>
                  <a:gd name="T5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4" h="52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6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74" y="52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2019"/>
              <p:cNvSpPr>
                <a:spLocks/>
              </p:cNvSpPr>
              <p:nvPr/>
            </p:nvSpPr>
            <p:spPr bwMode="auto">
              <a:xfrm>
                <a:off x="11699876" y="1124769"/>
                <a:ext cx="149225" cy="82550"/>
              </a:xfrm>
              <a:custGeom>
                <a:avLst/>
                <a:gdLst>
                  <a:gd name="T0" fmla="*/ 8 w 94"/>
                  <a:gd name="T1" fmla="*/ 0 h 52"/>
                  <a:gd name="T2" fmla="*/ 8 w 94"/>
                  <a:gd name="T3" fmla="*/ 0 h 52"/>
                  <a:gd name="T4" fmla="*/ 4 w 94"/>
                  <a:gd name="T5" fmla="*/ 0 h 52"/>
                  <a:gd name="T6" fmla="*/ 2 w 94"/>
                  <a:gd name="T7" fmla="*/ 2 h 52"/>
                  <a:gd name="T8" fmla="*/ 2 w 94"/>
                  <a:gd name="T9" fmla="*/ 2 h 52"/>
                  <a:gd name="T10" fmla="*/ 0 w 94"/>
                  <a:gd name="T11" fmla="*/ 6 h 52"/>
                  <a:gd name="T12" fmla="*/ 0 w 94"/>
                  <a:gd name="T13" fmla="*/ 8 h 52"/>
                  <a:gd name="T14" fmla="*/ 0 w 94"/>
                  <a:gd name="T15" fmla="*/ 12 h 52"/>
                  <a:gd name="T16" fmla="*/ 2 w 94"/>
                  <a:gd name="T17" fmla="*/ 14 h 52"/>
                  <a:gd name="T18" fmla="*/ 2 w 94"/>
                  <a:gd name="T19" fmla="*/ 14 h 52"/>
                  <a:gd name="T20" fmla="*/ 20 w 94"/>
                  <a:gd name="T21" fmla="*/ 26 h 52"/>
                  <a:gd name="T22" fmla="*/ 20 w 94"/>
                  <a:gd name="T23" fmla="*/ 26 h 52"/>
                  <a:gd name="T24" fmla="*/ 50 w 94"/>
                  <a:gd name="T25" fmla="*/ 44 h 52"/>
                  <a:gd name="T26" fmla="*/ 50 w 94"/>
                  <a:gd name="T27" fmla="*/ 44 h 52"/>
                  <a:gd name="T28" fmla="*/ 50 w 94"/>
                  <a:gd name="T29" fmla="*/ 44 h 52"/>
                  <a:gd name="T30" fmla="*/ 56 w 94"/>
                  <a:gd name="T31" fmla="*/ 46 h 52"/>
                  <a:gd name="T32" fmla="*/ 62 w 94"/>
                  <a:gd name="T33" fmla="*/ 48 h 52"/>
                  <a:gd name="T34" fmla="*/ 62 w 94"/>
                  <a:gd name="T35" fmla="*/ 48 h 52"/>
                  <a:gd name="T36" fmla="*/ 74 w 94"/>
                  <a:gd name="T37" fmla="*/ 52 h 52"/>
                  <a:gd name="T38" fmla="*/ 94 w 94"/>
                  <a:gd name="T39" fmla="*/ 48 h 52"/>
                  <a:gd name="T40" fmla="*/ 94 w 94"/>
                  <a:gd name="T41" fmla="*/ 48 h 52"/>
                  <a:gd name="T42" fmla="*/ 80 w 94"/>
                  <a:gd name="T43" fmla="*/ 42 h 52"/>
                  <a:gd name="T44" fmla="*/ 80 w 94"/>
                  <a:gd name="T45" fmla="*/ 42 h 52"/>
                  <a:gd name="T46" fmla="*/ 42 w 94"/>
                  <a:gd name="T47" fmla="*/ 20 h 52"/>
                  <a:gd name="T48" fmla="*/ 42 w 94"/>
                  <a:gd name="T49" fmla="*/ 20 h 52"/>
                  <a:gd name="T50" fmla="*/ 24 w 94"/>
                  <a:gd name="T51" fmla="*/ 10 h 52"/>
                  <a:gd name="T52" fmla="*/ 24 w 94"/>
                  <a:gd name="T53" fmla="*/ 10 h 52"/>
                  <a:gd name="T54" fmla="*/ 12 w 94"/>
                  <a:gd name="T55" fmla="*/ 2 h 52"/>
                  <a:gd name="T56" fmla="*/ 12 w 94"/>
                  <a:gd name="T57" fmla="*/ 2 h 52"/>
                  <a:gd name="T58" fmla="*/ 8 w 94"/>
                  <a:gd name="T5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4" h="52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6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74" y="52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2020"/>
              <p:cNvSpPr>
                <a:spLocks/>
              </p:cNvSpPr>
              <p:nvPr/>
            </p:nvSpPr>
            <p:spPr bwMode="auto">
              <a:xfrm>
                <a:off x="11779251" y="1194619"/>
                <a:ext cx="38100" cy="15875"/>
              </a:xfrm>
              <a:custGeom>
                <a:avLst/>
                <a:gdLst>
                  <a:gd name="T0" fmla="*/ 0 w 24"/>
                  <a:gd name="T1" fmla="*/ 0 h 10"/>
                  <a:gd name="T2" fmla="*/ 0 w 24"/>
                  <a:gd name="T3" fmla="*/ 0 h 10"/>
                  <a:gd name="T4" fmla="*/ 0 w 24"/>
                  <a:gd name="T5" fmla="*/ 0 h 10"/>
                  <a:gd name="T6" fmla="*/ 10 w 24"/>
                  <a:gd name="T7" fmla="*/ 6 h 10"/>
                  <a:gd name="T8" fmla="*/ 10 w 24"/>
                  <a:gd name="T9" fmla="*/ 6 h 10"/>
                  <a:gd name="T10" fmla="*/ 18 w 24"/>
                  <a:gd name="T11" fmla="*/ 10 h 10"/>
                  <a:gd name="T12" fmla="*/ 24 w 24"/>
                  <a:gd name="T13" fmla="*/ 8 h 10"/>
                  <a:gd name="T14" fmla="*/ 24 w 24"/>
                  <a:gd name="T15" fmla="*/ 8 h 10"/>
                  <a:gd name="T16" fmla="*/ 12 w 24"/>
                  <a:gd name="T17" fmla="*/ 4 h 10"/>
                  <a:gd name="T18" fmla="*/ 12 w 24"/>
                  <a:gd name="T19" fmla="*/ 4 h 10"/>
                  <a:gd name="T20" fmla="*/ 6 w 24"/>
                  <a:gd name="T21" fmla="*/ 2 h 10"/>
                  <a:gd name="T22" fmla="*/ 0 w 24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2021"/>
              <p:cNvSpPr>
                <a:spLocks/>
              </p:cNvSpPr>
              <p:nvPr/>
            </p:nvSpPr>
            <p:spPr bwMode="auto">
              <a:xfrm>
                <a:off x="11779251" y="1194619"/>
                <a:ext cx="38100" cy="15875"/>
              </a:xfrm>
              <a:custGeom>
                <a:avLst/>
                <a:gdLst>
                  <a:gd name="T0" fmla="*/ 0 w 24"/>
                  <a:gd name="T1" fmla="*/ 0 h 10"/>
                  <a:gd name="T2" fmla="*/ 0 w 24"/>
                  <a:gd name="T3" fmla="*/ 0 h 10"/>
                  <a:gd name="T4" fmla="*/ 0 w 24"/>
                  <a:gd name="T5" fmla="*/ 0 h 10"/>
                  <a:gd name="T6" fmla="*/ 10 w 24"/>
                  <a:gd name="T7" fmla="*/ 6 h 10"/>
                  <a:gd name="T8" fmla="*/ 10 w 24"/>
                  <a:gd name="T9" fmla="*/ 6 h 10"/>
                  <a:gd name="T10" fmla="*/ 18 w 24"/>
                  <a:gd name="T11" fmla="*/ 10 h 10"/>
                  <a:gd name="T12" fmla="*/ 24 w 24"/>
                  <a:gd name="T13" fmla="*/ 8 h 10"/>
                  <a:gd name="T14" fmla="*/ 24 w 24"/>
                  <a:gd name="T15" fmla="*/ 8 h 10"/>
                  <a:gd name="T16" fmla="*/ 12 w 24"/>
                  <a:gd name="T17" fmla="*/ 4 h 10"/>
                  <a:gd name="T18" fmla="*/ 12 w 24"/>
                  <a:gd name="T19" fmla="*/ 4 h 10"/>
                  <a:gd name="T20" fmla="*/ 6 w 24"/>
                  <a:gd name="T21" fmla="*/ 2 h 10"/>
                  <a:gd name="T22" fmla="*/ 0 w 24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Freeform 2022"/>
              <p:cNvSpPr>
                <a:spLocks/>
              </p:cNvSpPr>
              <p:nvPr/>
            </p:nvSpPr>
            <p:spPr bwMode="auto">
              <a:xfrm>
                <a:off x="11807826" y="1200969"/>
                <a:ext cx="60325" cy="28575"/>
              </a:xfrm>
              <a:custGeom>
                <a:avLst/>
                <a:gdLst>
                  <a:gd name="T0" fmla="*/ 26 w 38"/>
                  <a:gd name="T1" fmla="*/ 0 h 18"/>
                  <a:gd name="T2" fmla="*/ 6 w 38"/>
                  <a:gd name="T3" fmla="*/ 4 h 18"/>
                  <a:gd name="T4" fmla="*/ 0 w 38"/>
                  <a:gd name="T5" fmla="*/ 6 h 18"/>
                  <a:gd name="T6" fmla="*/ 0 w 38"/>
                  <a:gd name="T7" fmla="*/ 6 h 18"/>
                  <a:gd name="T8" fmla="*/ 16 w 38"/>
                  <a:gd name="T9" fmla="*/ 14 h 18"/>
                  <a:gd name="T10" fmla="*/ 28 w 38"/>
                  <a:gd name="T11" fmla="*/ 18 h 18"/>
                  <a:gd name="T12" fmla="*/ 28 w 38"/>
                  <a:gd name="T13" fmla="*/ 18 h 18"/>
                  <a:gd name="T14" fmla="*/ 30 w 38"/>
                  <a:gd name="T15" fmla="*/ 18 h 18"/>
                  <a:gd name="T16" fmla="*/ 30 w 38"/>
                  <a:gd name="T17" fmla="*/ 18 h 18"/>
                  <a:gd name="T18" fmla="*/ 34 w 38"/>
                  <a:gd name="T19" fmla="*/ 16 h 18"/>
                  <a:gd name="T20" fmla="*/ 38 w 38"/>
                  <a:gd name="T21" fmla="*/ 12 h 18"/>
                  <a:gd name="T22" fmla="*/ 38 w 38"/>
                  <a:gd name="T23" fmla="*/ 12 h 18"/>
                  <a:gd name="T24" fmla="*/ 38 w 38"/>
                  <a:gd name="T25" fmla="*/ 10 h 18"/>
                  <a:gd name="T26" fmla="*/ 38 w 38"/>
                  <a:gd name="T27" fmla="*/ 6 h 18"/>
                  <a:gd name="T28" fmla="*/ 36 w 38"/>
                  <a:gd name="T29" fmla="*/ 4 h 18"/>
                  <a:gd name="T30" fmla="*/ 32 w 38"/>
                  <a:gd name="T31" fmla="*/ 2 h 18"/>
                  <a:gd name="T32" fmla="*/ 32 w 38"/>
                  <a:gd name="T33" fmla="*/ 2 h 18"/>
                  <a:gd name="T34" fmla="*/ 26 w 38"/>
                  <a:gd name="T3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18">
                    <a:moveTo>
                      <a:pt x="26" y="0"/>
                    </a:moveTo>
                    <a:lnTo>
                      <a:pt x="6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6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Freeform 2023"/>
              <p:cNvSpPr>
                <a:spLocks/>
              </p:cNvSpPr>
              <p:nvPr/>
            </p:nvSpPr>
            <p:spPr bwMode="auto">
              <a:xfrm>
                <a:off x="11807826" y="1200969"/>
                <a:ext cx="60325" cy="28575"/>
              </a:xfrm>
              <a:custGeom>
                <a:avLst/>
                <a:gdLst>
                  <a:gd name="T0" fmla="*/ 26 w 38"/>
                  <a:gd name="T1" fmla="*/ 0 h 18"/>
                  <a:gd name="T2" fmla="*/ 6 w 38"/>
                  <a:gd name="T3" fmla="*/ 4 h 18"/>
                  <a:gd name="T4" fmla="*/ 0 w 38"/>
                  <a:gd name="T5" fmla="*/ 6 h 18"/>
                  <a:gd name="T6" fmla="*/ 0 w 38"/>
                  <a:gd name="T7" fmla="*/ 6 h 18"/>
                  <a:gd name="T8" fmla="*/ 16 w 38"/>
                  <a:gd name="T9" fmla="*/ 14 h 18"/>
                  <a:gd name="T10" fmla="*/ 28 w 38"/>
                  <a:gd name="T11" fmla="*/ 18 h 18"/>
                  <a:gd name="T12" fmla="*/ 28 w 38"/>
                  <a:gd name="T13" fmla="*/ 18 h 18"/>
                  <a:gd name="T14" fmla="*/ 30 w 38"/>
                  <a:gd name="T15" fmla="*/ 18 h 18"/>
                  <a:gd name="T16" fmla="*/ 30 w 38"/>
                  <a:gd name="T17" fmla="*/ 18 h 18"/>
                  <a:gd name="T18" fmla="*/ 34 w 38"/>
                  <a:gd name="T19" fmla="*/ 16 h 18"/>
                  <a:gd name="T20" fmla="*/ 38 w 38"/>
                  <a:gd name="T21" fmla="*/ 12 h 18"/>
                  <a:gd name="T22" fmla="*/ 38 w 38"/>
                  <a:gd name="T23" fmla="*/ 12 h 18"/>
                  <a:gd name="T24" fmla="*/ 38 w 38"/>
                  <a:gd name="T25" fmla="*/ 10 h 18"/>
                  <a:gd name="T26" fmla="*/ 38 w 38"/>
                  <a:gd name="T27" fmla="*/ 6 h 18"/>
                  <a:gd name="T28" fmla="*/ 36 w 38"/>
                  <a:gd name="T29" fmla="*/ 4 h 18"/>
                  <a:gd name="T30" fmla="*/ 32 w 38"/>
                  <a:gd name="T31" fmla="*/ 2 h 18"/>
                  <a:gd name="T32" fmla="*/ 32 w 38"/>
                  <a:gd name="T33" fmla="*/ 2 h 18"/>
                  <a:gd name="T34" fmla="*/ 26 w 38"/>
                  <a:gd name="T3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18">
                    <a:moveTo>
                      <a:pt x="26" y="0"/>
                    </a:moveTo>
                    <a:lnTo>
                      <a:pt x="6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6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2024"/>
              <p:cNvSpPr>
                <a:spLocks/>
              </p:cNvSpPr>
              <p:nvPr/>
            </p:nvSpPr>
            <p:spPr bwMode="auto">
              <a:xfrm>
                <a:off x="11788776" y="1096194"/>
                <a:ext cx="254000" cy="101600"/>
              </a:xfrm>
              <a:custGeom>
                <a:avLst/>
                <a:gdLst>
                  <a:gd name="T0" fmla="*/ 8 w 160"/>
                  <a:gd name="T1" fmla="*/ 0 h 64"/>
                  <a:gd name="T2" fmla="*/ 8 w 160"/>
                  <a:gd name="T3" fmla="*/ 0 h 64"/>
                  <a:gd name="T4" fmla="*/ 4 w 160"/>
                  <a:gd name="T5" fmla="*/ 2 h 64"/>
                  <a:gd name="T6" fmla="*/ 2 w 160"/>
                  <a:gd name="T7" fmla="*/ 6 h 64"/>
                  <a:gd name="T8" fmla="*/ 2 w 160"/>
                  <a:gd name="T9" fmla="*/ 6 h 64"/>
                  <a:gd name="T10" fmla="*/ 0 w 160"/>
                  <a:gd name="T11" fmla="*/ 8 h 64"/>
                  <a:gd name="T12" fmla="*/ 0 w 160"/>
                  <a:gd name="T13" fmla="*/ 12 h 64"/>
                  <a:gd name="T14" fmla="*/ 2 w 160"/>
                  <a:gd name="T15" fmla="*/ 14 h 64"/>
                  <a:gd name="T16" fmla="*/ 4 w 160"/>
                  <a:gd name="T17" fmla="*/ 16 h 64"/>
                  <a:gd name="T18" fmla="*/ 4 w 160"/>
                  <a:gd name="T19" fmla="*/ 16 h 64"/>
                  <a:gd name="T20" fmla="*/ 4 w 160"/>
                  <a:gd name="T21" fmla="*/ 16 h 64"/>
                  <a:gd name="T22" fmla="*/ 24 w 160"/>
                  <a:gd name="T23" fmla="*/ 28 h 64"/>
                  <a:gd name="T24" fmla="*/ 56 w 160"/>
                  <a:gd name="T25" fmla="*/ 40 h 64"/>
                  <a:gd name="T26" fmla="*/ 56 w 160"/>
                  <a:gd name="T27" fmla="*/ 40 h 64"/>
                  <a:gd name="T28" fmla="*/ 74 w 160"/>
                  <a:gd name="T29" fmla="*/ 48 h 64"/>
                  <a:gd name="T30" fmla="*/ 96 w 160"/>
                  <a:gd name="T31" fmla="*/ 54 h 64"/>
                  <a:gd name="T32" fmla="*/ 122 w 160"/>
                  <a:gd name="T33" fmla="*/ 60 h 64"/>
                  <a:gd name="T34" fmla="*/ 150 w 160"/>
                  <a:gd name="T35" fmla="*/ 64 h 64"/>
                  <a:gd name="T36" fmla="*/ 150 w 160"/>
                  <a:gd name="T37" fmla="*/ 64 h 64"/>
                  <a:gd name="T38" fmla="*/ 152 w 160"/>
                  <a:gd name="T39" fmla="*/ 64 h 64"/>
                  <a:gd name="T40" fmla="*/ 152 w 160"/>
                  <a:gd name="T41" fmla="*/ 64 h 64"/>
                  <a:gd name="T42" fmla="*/ 158 w 160"/>
                  <a:gd name="T43" fmla="*/ 62 h 64"/>
                  <a:gd name="T44" fmla="*/ 160 w 160"/>
                  <a:gd name="T45" fmla="*/ 56 h 64"/>
                  <a:gd name="T46" fmla="*/ 160 w 160"/>
                  <a:gd name="T47" fmla="*/ 56 h 64"/>
                  <a:gd name="T48" fmla="*/ 160 w 160"/>
                  <a:gd name="T49" fmla="*/ 54 h 64"/>
                  <a:gd name="T50" fmla="*/ 158 w 160"/>
                  <a:gd name="T51" fmla="*/ 50 h 64"/>
                  <a:gd name="T52" fmla="*/ 156 w 160"/>
                  <a:gd name="T53" fmla="*/ 48 h 64"/>
                  <a:gd name="T54" fmla="*/ 154 w 160"/>
                  <a:gd name="T55" fmla="*/ 48 h 64"/>
                  <a:gd name="T56" fmla="*/ 154 w 160"/>
                  <a:gd name="T57" fmla="*/ 48 h 64"/>
                  <a:gd name="T58" fmla="*/ 126 w 160"/>
                  <a:gd name="T59" fmla="*/ 44 h 64"/>
                  <a:gd name="T60" fmla="*/ 100 w 160"/>
                  <a:gd name="T61" fmla="*/ 38 h 64"/>
                  <a:gd name="T62" fmla="*/ 80 w 160"/>
                  <a:gd name="T63" fmla="*/ 32 h 64"/>
                  <a:gd name="T64" fmla="*/ 60 w 160"/>
                  <a:gd name="T65" fmla="*/ 26 h 64"/>
                  <a:gd name="T66" fmla="*/ 60 w 160"/>
                  <a:gd name="T67" fmla="*/ 26 h 64"/>
                  <a:gd name="T68" fmla="*/ 32 w 160"/>
                  <a:gd name="T69" fmla="*/ 12 h 64"/>
                  <a:gd name="T70" fmla="*/ 12 w 160"/>
                  <a:gd name="T71" fmla="*/ 2 h 64"/>
                  <a:gd name="T72" fmla="*/ 12 w 160"/>
                  <a:gd name="T73" fmla="*/ 2 h 64"/>
                  <a:gd name="T74" fmla="*/ 8 w 160"/>
                  <a:gd name="T7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0" h="6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24" y="28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74" y="48"/>
                    </a:lnTo>
                    <a:lnTo>
                      <a:pt x="96" y="54"/>
                    </a:lnTo>
                    <a:lnTo>
                      <a:pt x="122" y="60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52" y="64"/>
                    </a:lnTo>
                    <a:lnTo>
                      <a:pt x="152" y="64"/>
                    </a:lnTo>
                    <a:lnTo>
                      <a:pt x="158" y="62"/>
                    </a:lnTo>
                    <a:lnTo>
                      <a:pt x="160" y="56"/>
                    </a:lnTo>
                    <a:lnTo>
                      <a:pt x="160" y="56"/>
                    </a:lnTo>
                    <a:lnTo>
                      <a:pt x="160" y="54"/>
                    </a:lnTo>
                    <a:lnTo>
                      <a:pt x="158" y="50"/>
                    </a:lnTo>
                    <a:lnTo>
                      <a:pt x="156" y="48"/>
                    </a:lnTo>
                    <a:lnTo>
                      <a:pt x="154" y="48"/>
                    </a:lnTo>
                    <a:lnTo>
                      <a:pt x="154" y="48"/>
                    </a:lnTo>
                    <a:lnTo>
                      <a:pt x="126" y="44"/>
                    </a:lnTo>
                    <a:lnTo>
                      <a:pt x="100" y="38"/>
                    </a:lnTo>
                    <a:lnTo>
                      <a:pt x="80" y="3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32" y="1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2025"/>
              <p:cNvSpPr>
                <a:spLocks/>
              </p:cNvSpPr>
              <p:nvPr/>
            </p:nvSpPr>
            <p:spPr bwMode="auto">
              <a:xfrm>
                <a:off x="11788776" y="1096194"/>
                <a:ext cx="254000" cy="101600"/>
              </a:xfrm>
              <a:custGeom>
                <a:avLst/>
                <a:gdLst>
                  <a:gd name="T0" fmla="*/ 8 w 160"/>
                  <a:gd name="T1" fmla="*/ 0 h 64"/>
                  <a:gd name="T2" fmla="*/ 8 w 160"/>
                  <a:gd name="T3" fmla="*/ 0 h 64"/>
                  <a:gd name="T4" fmla="*/ 4 w 160"/>
                  <a:gd name="T5" fmla="*/ 2 h 64"/>
                  <a:gd name="T6" fmla="*/ 2 w 160"/>
                  <a:gd name="T7" fmla="*/ 6 h 64"/>
                  <a:gd name="T8" fmla="*/ 2 w 160"/>
                  <a:gd name="T9" fmla="*/ 6 h 64"/>
                  <a:gd name="T10" fmla="*/ 0 w 160"/>
                  <a:gd name="T11" fmla="*/ 8 h 64"/>
                  <a:gd name="T12" fmla="*/ 0 w 160"/>
                  <a:gd name="T13" fmla="*/ 12 h 64"/>
                  <a:gd name="T14" fmla="*/ 2 w 160"/>
                  <a:gd name="T15" fmla="*/ 14 h 64"/>
                  <a:gd name="T16" fmla="*/ 4 w 160"/>
                  <a:gd name="T17" fmla="*/ 16 h 64"/>
                  <a:gd name="T18" fmla="*/ 4 w 160"/>
                  <a:gd name="T19" fmla="*/ 16 h 64"/>
                  <a:gd name="T20" fmla="*/ 4 w 160"/>
                  <a:gd name="T21" fmla="*/ 16 h 64"/>
                  <a:gd name="T22" fmla="*/ 24 w 160"/>
                  <a:gd name="T23" fmla="*/ 28 h 64"/>
                  <a:gd name="T24" fmla="*/ 56 w 160"/>
                  <a:gd name="T25" fmla="*/ 40 h 64"/>
                  <a:gd name="T26" fmla="*/ 56 w 160"/>
                  <a:gd name="T27" fmla="*/ 40 h 64"/>
                  <a:gd name="T28" fmla="*/ 74 w 160"/>
                  <a:gd name="T29" fmla="*/ 48 h 64"/>
                  <a:gd name="T30" fmla="*/ 96 w 160"/>
                  <a:gd name="T31" fmla="*/ 54 h 64"/>
                  <a:gd name="T32" fmla="*/ 122 w 160"/>
                  <a:gd name="T33" fmla="*/ 60 h 64"/>
                  <a:gd name="T34" fmla="*/ 150 w 160"/>
                  <a:gd name="T35" fmla="*/ 64 h 64"/>
                  <a:gd name="T36" fmla="*/ 150 w 160"/>
                  <a:gd name="T37" fmla="*/ 64 h 64"/>
                  <a:gd name="T38" fmla="*/ 152 w 160"/>
                  <a:gd name="T39" fmla="*/ 64 h 64"/>
                  <a:gd name="T40" fmla="*/ 152 w 160"/>
                  <a:gd name="T41" fmla="*/ 64 h 64"/>
                  <a:gd name="T42" fmla="*/ 158 w 160"/>
                  <a:gd name="T43" fmla="*/ 62 h 64"/>
                  <a:gd name="T44" fmla="*/ 160 w 160"/>
                  <a:gd name="T45" fmla="*/ 56 h 64"/>
                  <a:gd name="T46" fmla="*/ 160 w 160"/>
                  <a:gd name="T47" fmla="*/ 56 h 64"/>
                  <a:gd name="T48" fmla="*/ 160 w 160"/>
                  <a:gd name="T49" fmla="*/ 54 h 64"/>
                  <a:gd name="T50" fmla="*/ 158 w 160"/>
                  <a:gd name="T51" fmla="*/ 50 h 64"/>
                  <a:gd name="T52" fmla="*/ 156 w 160"/>
                  <a:gd name="T53" fmla="*/ 48 h 64"/>
                  <a:gd name="T54" fmla="*/ 154 w 160"/>
                  <a:gd name="T55" fmla="*/ 48 h 64"/>
                  <a:gd name="T56" fmla="*/ 154 w 160"/>
                  <a:gd name="T57" fmla="*/ 48 h 64"/>
                  <a:gd name="T58" fmla="*/ 126 w 160"/>
                  <a:gd name="T59" fmla="*/ 44 h 64"/>
                  <a:gd name="T60" fmla="*/ 100 w 160"/>
                  <a:gd name="T61" fmla="*/ 38 h 64"/>
                  <a:gd name="T62" fmla="*/ 80 w 160"/>
                  <a:gd name="T63" fmla="*/ 32 h 64"/>
                  <a:gd name="T64" fmla="*/ 60 w 160"/>
                  <a:gd name="T65" fmla="*/ 26 h 64"/>
                  <a:gd name="T66" fmla="*/ 60 w 160"/>
                  <a:gd name="T67" fmla="*/ 26 h 64"/>
                  <a:gd name="T68" fmla="*/ 32 w 160"/>
                  <a:gd name="T69" fmla="*/ 12 h 64"/>
                  <a:gd name="T70" fmla="*/ 12 w 160"/>
                  <a:gd name="T71" fmla="*/ 2 h 64"/>
                  <a:gd name="T72" fmla="*/ 12 w 160"/>
                  <a:gd name="T73" fmla="*/ 2 h 64"/>
                  <a:gd name="T74" fmla="*/ 8 w 160"/>
                  <a:gd name="T7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0" h="6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24" y="28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74" y="48"/>
                    </a:lnTo>
                    <a:lnTo>
                      <a:pt x="96" y="54"/>
                    </a:lnTo>
                    <a:lnTo>
                      <a:pt x="122" y="60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52" y="64"/>
                    </a:lnTo>
                    <a:lnTo>
                      <a:pt x="152" y="64"/>
                    </a:lnTo>
                    <a:lnTo>
                      <a:pt x="158" y="62"/>
                    </a:lnTo>
                    <a:lnTo>
                      <a:pt x="160" y="56"/>
                    </a:lnTo>
                    <a:lnTo>
                      <a:pt x="160" y="56"/>
                    </a:lnTo>
                    <a:lnTo>
                      <a:pt x="160" y="54"/>
                    </a:lnTo>
                    <a:lnTo>
                      <a:pt x="158" y="50"/>
                    </a:lnTo>
                    <a:lnTo>
                      <a:pt x="156" y="48"/>
                    </a:lnTo>
                    <a:lnTo>
                      <a:pt x="154" y="48"/>
                    </a:lnTo>
                    <a:lnTo>
                      <a:pt x="154" y="48"/>
                    </a:lnTo>
                    <a:lnTo>
                      <a:pt x="126" y="44"/>
                    </a:lnTo>
                    <a:lnTo>
                      <a:pt x="100" y="38"/>
                    </a:lnTo>
                    <a:lnTo>
                      <a:pt x="80" y="3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32" y="1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08" name="Group 207"/>
            <p:cNvGrpSpPr/>
            <p:nvPr/>
          </p:nvGrpSpPr>
          <p:grpSpPr>
            <a:xfrm>
              <a:off x="-2047721" y="1681595"/>
              <a:ext cx="804406" cy="301765"/>
              <a:chOff x="9569152" y="5360394"/>
              <a:chExt cx="1152525" cy="431800"/>
            </a:xfrm>
          </p:grpSpPr>
          <p:sp>
            <p:nvSpPr>
              <p:cNvPr id="209" name="Freeform 1939"/>
              <p:cNvSpPr>
                <a:spLocks/>
              </p:cNvSpPr>
              <p:nvPr/>
            </p:nvSpPr>
            <p:spPr bwMode="auto">
              <a:xfrm>
                <a:off x="9569152" y="5382647"/>
                <a:ext cx="1152525" cy="409547"/>
              </a:xfrm>
              <a:custGeom>
                <a:avLst/>
                <a:gdLst>
                  <a:gd name="T0" fmla="*/ 726 w 726"/>
                  <a:gd name="T1" fmla="*/ 272 h 272"/>
                  <a:gd name="T2" fmla="*/ 726 w 726"/>
                  <a:gd name="T3" fmla="*/ 272 h 272"/>
                  <a:gd name="T4" fmla="*/ 0 w 726"/>
                  <a:gd name="T5" fmla="*/ 272 h 272"/>
                  <a:gd name="T6" fmla="*/ 0 w 726"/>
                  <a:gd name="T7" fmla="*/ 272 h 272"/>
                  <a:gd name="T8" fmla="*/ 2 w 726"/>
                  <a:gd name="T9" fmla="*/ 250 h 272"/>
                  <a:gd name="T10" fmla="*/ 8 w 726"/>
                  <a:gd name="T11" fmla="*/ 226 h 272"/>
                  <a:gd name="T12" fmla="*/ 16 w 726"/>
                  <a:gd name="T13" fmla="*/ 202 h 272"/>
                  <a:gd name="T14" fmla="*/ 28 w 726"/>
                  <a:gd name="T15" fmla="*/ 178 h 272"/>
                  <a:gd name="T16" fmla="*/ 44 w 726"/>
                  <a:gd name="T17" fmla="*/ 156 h 272"/>
                  <a:gd name="T18" fmla="*/ 62 w 726"/>
                  <a:gd name="T19" fmla="*/ 132 h 272"/>
                  <a:gd name="T20" fmla="*/ 82 w 726"/>
                  <a:gd name="T21" fmla="*/ 112 h 272"/>
                  <a:gd name="T22" fmla="*/ 106 w 726"/>
                  <a:gd name="T23" fmla="*/ 90 h 272"/>
                  <a:gd name="T24" fmla="*/ 132 w 726"/>
                  <a:gd name="T25" fmla="*/ 72 h 272"/>
                  <a:gd name="T26" fmla="*/ 160 w 726"/>
                  <a:gd name="T27" fmla="*/ 54 h 272"/>
                  <a:gd name="T28" fmla="*/ 190 w 726"/>
                  <a:gd name="T29" fmla="*/ 38 h 272"/>
                  <a:gd name="T30" fmla="*/ 222 w 726"/>
                  <a:gd name="T31" fmla="*/ 24 h 272"/>
                  <a:gd name="T32" fmla="*/ 254 w 726"/>
                  <a:gd name="T33" fmla="*/ 14 h 272"/>
                  <a:gd name="T34" fmla="*/ 290 w 726"/>
                  <a:gd name="T35" fmla="*/ 6 h 272"/>
                  <a:gd name="T36" fmla="*/ 326 w 726"/>
                  <a:gd name="T37" fmla="*/ 0 h 272"/>
                  <a:gd name="T38" fmla="*/ 362 w 726"/>
                  <a:gd name="T39" fmla="*/ 0 h 272"/>
                  <a:gd name="T40" fmla="*/ 362 w 726"/>
                  <a:gd name="T41" fmla="*/ 0 h 272"/>
                  <a:gd name="T42" fmla="*/ 400 w 726"/>
                  <a:gd name="T43" fmla="*/ 0 h 272"/>
                  <a:gd name="T44" fmla="*/ 436 w 726"/>
                  <a:gd name="T45" fmla="*/ 6 h 272"/>
                  <a:gd name="T46" fmla="*/ 470 w 726"/>
                  <a:gd name="T47" fmla="*/ 14 h 272"/>
                  <a:gd name="T48" fmla="*/ 504 w 726"/>
                  <a:gd name="T49" fmla="*/ 24 h 272"/>
                  <a:gd name="T50" fmla="*/ 536 w 726"/>
                  <a:gd name="T51" fmla="*/ 38 h 272"/>
                  <a:gd name="T52" fmla="*/ 566 w 726"/>
                  <a:gd name="T53" fmla="*/ 54 h 272"/>
                  <a:gd name="T54" fmla="*/ 594 w 726"/>
                  <a:gd name="T55" fmla="*/ 72 h 272"/>
                  <a:gd name="T56" fmla="*/ 618 w 726"/>
                  <a:gd name="T57" fmla="*/ 90 h 272"/>
                  <a:gd name="T58" fmla="*/ 642 w 726"/>
                  <a:gd name="T59" fmla="*/ 112 h 272"/>
                  <a:gd name="T60" fmla="*/ 664 w 726"/>
                  <a:gd name="T61" fmla="*/ 132 h 272"/>
                  <a:gd name="T62" fmla="*/ 682 w 726"/>
                  <a:gd name="T63" fmla="*/ 156 h 272"/>
                  <a:gd name="T64" fmla="*/ 696 w 726"/>
                  <a:gd name="T65" fmla="*/ 178 h 272"/>
                  <a:gd name="T66" fmla="*/ 708 w 726"/>
                  <a:gd name="T67" fmla="*/ 202 h 272"/>
                  <a:gd name="T68" fmla="*/ 718 w 726"/>
                  <a:gd name="T69" fmla="*/ 226 h 272"/>
                  <a:gd name="T70" fmla="*/ 724 w 726"/>
                  <a:gd name="T71" fmla="*/ 250 h 272"/>
                  <a:gd name="T72" fmla="*/ 726 w 726"/>
                  <a:gd name="T73" fmla="*/ 272 h 272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490 w 10000"/>
                  <a:gd name="connsiteY18" fmla="*/ 0 h 10000"/>
                  <a:gd name="connsiteX19" fmla="*/ 4986 w 10000"/>
                  <a:gd name="connsiteY19" fmla="*/ 0 h 10000"/>
                  <a:gd name="connsiteX20" fmla="*/ 4986 w 10000"/>
                  <a:gd name="connsiteY20" fmla="*/ 0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883 w 10000"/>
                  <a:gd name="connsiteY18" fmla="*/ 2868 h 10000"/>
                  <a:gd name="connsiteX19" fmla="*/ 4986 w 10000"/>
                  <a:gd name="connsiteY19" fmla="*/ 0 h 10000"/>
                  <a:gd name="connsiteX20" fmla="*/ 4986 w 10000"/>
                  <a:gd name="connsiteY20" fmla="*/ 0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883 w 10000"/>
                  <a:gd name="connsiteY18" fmla="*/ 2868 h 10000"/>
                  <a:gd name="connsiteX19" fmla="*/ 4986 w 10000"/>
                  <a:gd name="connsiteY19" fmla="*/ 0 h 10000"/>
                  <a:gd name="connsiteX20" fmla="*/ 5069 w 10000"/>
                  <a:gd name="connsiteY20" fmla="*/ 2978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883 w 10000"/>
                  <a:gd name="connsiteY18" fmla="*/ 2868 h 10000"/>
                  <a:gd name="connsiteX19" fmla="*/ 5007 w 10000"/>
                  <a:gd name="connsiteY19" fmla="*/ 2482 h 10000"/>
                  <a:gd name="connsiteX20" fmla="*/ 5069 w 10000"/>
                  <a:gd name="connsiteY20" fmla="*/ 2978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9779 h 9779"/>
                  <a:gd name="connsiteX1" fmla="*/ 10000 w 10000"/>
                  <a:gd name="connsiteY1" fmla="*/ 9779 h 9779"/>
                  <a:gd name="connsiteX2" fmla="*/ 0 w 10000"/>
                  <a:gd name="connsiteY2" fmla="*/ 9779 h 9779"/>
                  <a:gd name="connsiteX3" fmla="*/ 0 w 10000"/>
                  <a:gd name="connsiteY3" fmla="*/ 9779 h 9779"/>
                  <a:gd name="connsiteX4" fmla="*/ 28 w 10000"/>
                  <a:gd name="connsiteY4" fmla="*/ 8970 h 9779"/>
                  <a:gd name="connsiteX5" fmla="*/ 110 w 10000"/>
                  <a:gd name="connsiteY5" fmla="*/ 8088 h 9779"/>
                  <a:gd name="connsiteX6" fmla="*/ 220 w 10000"/>
                  <a:gd name="connsiteY6" fmla="*/ 7205 h 9779"/>
                  <a:gd name="connsiteX7" fmla="*/ 386 w 10000"/>
                  <a:gd name="connsiteY7" fmla="*/ 6323 h 9779"/>
                  <a:gd name="connsiteX8" fmla="*/ 606 w 10000"/>
                  <a:gd name="connsiteY8" fmla="*/ 5514 h 9779"/>
                  <a:gd name="connsiteX9" fmla="*/ 854 w 10000"/>
                  <a:gd name="connsiteY9" fmla="*/ 4632 h 9779"/>
                  <a:gd name="connsiteX10" fmla="*/ 1129 w 10000"/>
                  <a:gd name="connsiteY10" fmla="*/ 3897 h 9779"/>
                  <a:gd name="connsiteX11" fmla="*/ 1460 w 10000"/>
                  <a:gd name="connsiteY11" fmla="*/ 3088 h 9779"/>
                  <a:gd name="connsiteX12" fmla="*/ 1818 w 10000"/>
                  <a:gd name="connsiteY12" fmla="*/ 2426 h 9779"/>
                  <a:gd name="connsiteX13" fmla="*/ 2204 w 10000"/>
                  <a:gd name="connsiteY13" fmla="*/ 1764 h 9779"/>
                  <a:gd name="connsiteX14" fmla="*/ 2617 w 10000"/>
                  <a:gd name="connsiteY14" fmla="*/ 1176 h 9779"/>
                  <a:gd name="connsiteX15" fmla="*/ 3058 w 10000"/>
                  <a:gd name="connsiteY15" fmla="*/ 661 h 9779"/>
                  <a:gd name="connsiteX16" fmla="*/ 3499 w 10000"/>
                  <a:gd name="connsiteY16" fmla="*/ 294 h 9779"/>
                  <a:gd name="connsiteX17" fmla="*/ 4738 w 10000"/>
                  <a:gd name="connsiteY17" fmla="*/ 2813 h 9779"/>
                  <a:gd name="connsiteX18" fmla="*/ 4883 w 10000"/>
                  <a:gd name="connsiteY18" fmla="*/ 2647 h 9779"/>
                  <a:gd name="connsiteX19" fmla="*/ 5007 w 10000"/>
                  <a:gd name="connsiteY19" fmla="*/ 2261 h 9779"/>
                  <a:gd name="connsiteX20" fmla="*/ 5069 w 10000"/>
                  <a:gd name="connsiteY20" fmla="*/ 2757 h 9779"/>
                  <a:gd name="connsiteX21" fmla="*/ 5179 w 10000"/>
                  <a:gd name="connsiteY21" fmla="*/ 3033 h 9779"/>
                  <a:gd name="connsiteX22" fmla="*/ 6006 w 10000"/>
                  <a:gd name="connsiteY22" fmla="*/ 0 h 9779"/>
                  <a:gd name="connsiteX23" fmla="*/ 6474 w 10000"/>
                  <a:gd name="connsiteY23" fmla="*/ 294 h 9779"/>
                  <a:gd name="connsiteX24" fmla="*/ 6942 w 10000"/>
                  <a:gd name="connsiteY24" fmla="*/ 661 h 9779"/>
                  <a:gd name="connsiteX25" fmla="*/ 7383 w 10000"/>
                  <a:gd name="connsiteY25" fmla="*/ 1176 h 9779"/>
                  <a:gd name="connsiteX26" fmla="*/ 7796 w 10000"/>
                  <a:gd name="connsiteY26" fmla="*/ 1764 h 9779"/>
                  <a:gd name="connsiteX27" fmla="*/ 8182 w 10000"/>
                  <a:gd name="connsiteY27" fmla="*/ 2426 h 9779"/>
                  <a:gd name="connsiteX28" fmla="*/ 8512 w 10000"/>
                  <a:gd name="connsiteY28" fmla="*/ 3088 h 9779"/>
                  <a:gd name="connsiteX29" fmla="*/ 8843 w 10000"/>
                  <a:gd name="connsiteY29" fmla="*/ 3897 h 9779"/>
                  <a:gd name="connsiteX30" fmla="*/ 9146 w 10000"/>
                  <a:gd name="connsiteY30" fmla="*/ 4632 h 9779"/>
                  <a:gd name="connsiteX31" fmla="*/ 9394 w 10000"/>
                  <a:gd name="connsiteY31" fmla="*/ 5514 h 9779"/>
                  <a:gd name="connsiteX32" fmla="*/ 9587 w 10000"/>
                  <a:gd name="connsiteY32" fmla="*/ 6323 h 9779"/>
                  <a:gd name="connsiteX33" fmla="*/ 9752 w 10000"/>
                  <a:gd name="connsiteY33" fmla="*/ 7205 h 9779"/>
                  <a:gd name="connsiteX34" fmla="*/ 9890 w 10000"/>
                  <a:gd name="connsiteY34" fmla="*/ 8088 h 9779"/>
                  <a:gd name="connsiteX35" fmla="*/ 9972 w 10000"/>
                  <a:gd name="connsiteY35" fmla="*/ 8970 h 9779"/>
                  <a:gd name="connsiteX36" fmla="*/ 10000 w 10000"/>
                  <a:gd name="connsiteY36" fmla="*/ 9779 h 9779"/>
                  <a:gd name="connsiteX0" fmla="*/ 10000 w 10000"/>
                  <a:gd name="connsiteY0" fmla="*/ 9699 h 9699"/>
                  <a:gd name="connsiteX1" fmla="*/ 10000 w 10000"/>
                  <a:gd name="connsiteY1" fmla="*/ 9699 h 9699"/>
                  <a:gd name="connsiteX2" fmla="*/ 0 w 10000"/>
                  <a:gd name="connsiteY2" fmla="*/ 9699 h 9699"/>
                  <a:gd name="connsiteX3" fmla="*/ 0 w 10000"/>
                  <a:gd name="connsiteY3" fmla="*/ 9699 h 9699"/>
                  <a:gd name="connsiteX4" fmla="*/ 28 w 10000"/>
                  <a:gd name="connsiteY4" fmla="*/ 8872 h 9699"/>
                  <a:gd name="connsiteX5" fmla="*/ 110 w 10000"/>
                  <a:gd name="connsiteY5" fmla="*/ 7970 h 9699"/>
                  <a:gd name="connsiteX6" fmla="*/ 220 w 10000"/>
                  <a:gd name="connsiteY6" fmla="*/ 7067 h 9699"/>
                  <a:gd name="connsiteX7" fmla="*/ 386 w 10000"/>
                  <a:gd name="connsiteY7" fmla="*/ 6165 h 9699"/>
                  <a:gd name="connsiteX8" fmla="*/ 606 w 10000"/>
                  <a:gd name="connsiteY8" fmla="*/ 5338 h 9699"/>
                  <a:gd name="connsiteX9" fmla="*/ 854 w 10000"/>
                  <a:gd name="connsiteY9" fmla="*/ 4436 h 9699"/>
                  <a:gd name="connsiteX10" fmla="*/ 1129 w 10000"/>
                  <a:gd name="connsiteY10" fmla="*/ 3684 h 9699"/>
                  <a:gd name="connsiteX11" fmla="*/ 1460 w 10000"/>
                  <a:gd name="connsiteY11" fmla="*/ 2857 h 9699"/>
                  <a:gd name="connsiteX12" fmla="*/ 1818 w 10000"/>
                  <a:gd name="connsiteY12" fmla="*/ 2180 h 9699"/>
                  <a:gd name="connsiteX13" fmla="*/ 2204 w 10000"/>
                  <a:gd name="connsiteY13" fmla="*/ 1503 h 9699"/>
                  <a:gd name="connsiteX14" fmla="*/ 2617 w 10000"/>
                  <a:gd name="connsiteY14" fmla="*/ 902 h 9699"/>
                  <a:gd name="connsiteX15" fmla="*/ 3058 w 10000"/>
                  <a:gd name="connsiteY15" fmla="*/ 375 h 9699"/>
                  <a:gd name="connsiteX16" fmla="*/ 3499 w 10000"/>
                  <a:gd name="connsiteY16" fmla="*/ 0 h 9699"/>
                  <a:gd name="connsiteX17" fmla="*/ 4738 w 10000"/>
                  <a:gd name="connsiteY17" fmla="*/ 2576 h 9699"/>
                  <a:gd name="connsiteX18" fmla="*/ 4883 w 10000"/>
                  <a:gd name="connsiteY18" fmla="*/ 2406 h 9699"/>
                  <a:gd name="connsiteX19" fmla="*/ 5007 w 10000"/>
                  <a:gd name="connsiteY19" fmla="*/ 2011 h 9699"/>
                  <a:gd name="connsiteX20" fmla="*/ 5069 w 10000"/>
                  <a:gd name="connsiteY20" fmla="*/ 2518 h 9699"/>
                  <a:gd name="connsiteX21" fmla="*/ 5179 w 10000"/>
                  <a:gd name="connsiteY21" fmla="*/ 2801 h 9699"/>
                  <a:gd name="connsiteX22" fmla="*/ 5944 w 10000"/>
                  <a:gd name="connsiteY22" fmla="*/ 1278 h 9699"/>
                  <a:gd name="connsiteX23" fmla="*/ 6474 w 10000"/>
                  <a:gd name="connsiteY23" fmla="*/ 0 h 9699"/>
                  <a:gd name="connsiteX24" fmla="*/ 6942 w 10000"/>
                  <a:gd name="connsiteY24" fmla="*/ 375 h 9699"/>
                  <a:gd name="connsiteX25" fmla="*/ 7383 w 10000"/>
                  <a:gd name="connsiteY25" fmla="*/ 902 h 9699"/>
                  <a:gd name="connsiteX26" fmla="*/ 7796 w 10000"/>
                  <a:gd name="connsiteY26" fmla="*/ 1503 h 9699"/>
                  <a:gd name="connsiteX27" fmla="*/ 8182 w 10000"/>
                  <a:gd name="connsiteY27" fmla="*/ 2180 h 9699"/>
                  <a:gd name="connsiteX28" fmla="*/ 8512 w 10000"/>
                  <a:gd name="connsiteY28" fmla="*/ 2857 h 9699"/>
                  <a:gd name="connsiteX29" fmla="*/ 8843 w 10000"/>
                  <a:gd name="connsiteY29" fmla="*/ 3684 h 9699"/>
                  <a:gd name="connsiteX30" fmla="*/ 9146 w 10000"/>
                  <a:gd name="connsiteY30" fmla="*/ 4436 h 9699"/>
                  <a:gd name="connsiteX31" fmla="*/ 9394 w 10000"/>
                  <a:gd name="connsiteY31" fmla="*/ 5338 h 9699"/>
                  <a:gd name="connsiteX32" fmla="*/ 9587 w 10000"/>
                  <a:gd name="connsiteY32" fmla="*/ 6165 h 9699"/>
                  <a:gd name="connsiteX33" fmla="*/ 9752 w 10000"/>
                  <a:gd name="connsiteY33" fmla="*/ 7067 h 9699"/>
                  <a:gd name="connsiteX34" fmla="*/ 9890 w 10000"/>
                  <a:gd name="connsiteY34" fmla="*/ 7970 h 9699"/>
                  <a:gd name="connsiteX35" fmla="*/ 9972 w 10000"/>
                  <a:gd name="connsiteY35" fmla="*/ 8872 h 9699"/>
                  <a:gd name="connsiteX36" fmla="*/ 10000 w 10000"/>
                  <a:gd name="connsiteY36" fmla="*/ 9699 h 9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0000" h="9699">
                    <a:moveTo>
                      <a:pt x="10000" y="9699"/>
                    </a:moveTo>
                    <a:lnTo>
                      <a:pt x="10000" y="9699"/>
                    </a:lnTo>
                    <a:lnTo>
                      <a:pt x="0" y="9699"/>
                    </a:lnTo>
                    <a:lnTo>
                      <a:pt x="0" y="9699"/>
                    </a:lnTo>
                    <a:cubicBezTo>
                      <a:pt x="9" y="9423"/>
                      <a:pt x="19" y="9148"/>
                      <a:pt x="28" y="8872"/>
                    </a:cubicBezTo>
                    <a:cubicBezTo>
                      <a:pt x="55" y="8571"/>
                      <a:pt x="83" y="8270"/>
                      <a:pt x="110" y="7970"/>
                    </a:cubicBezTo>
                    <a:cubicBezTo>
                      <a:pt x="147" y="7669"/>
                      <a:pt x="183" y="7367"/>
                      <a:pt x="220" y="7067"/>
                    </a:cubicBezTo>
                    <a:cubicBezTo>
                      <a:pt x="275" y="6766"/>
                      <a:pt x="331" y="6466"/>
                      <a:pt x="386" y="6165"/>
                    </a:cubicBezTo>
                    <a:cubicBezTo>
                      <a:pt x="459" y="5889"/>
                      <a:pt x="533" y="5614"/>
                      <a:pt x="606" y="5338"/>
                    </a:cubicBezTo>
                    <a:cubicBezTo>
                      <a:pt x="689" y="5037"/>
                      <a:pt x="771" y="4736"/>
                      <a:pt x="854" y="4436"/>
                    </a:cubicBezTo>
                    <a:lnTo>
                      <a:pt x="1129" y="3684"/>
                    </a:lnTo>
                    <a:cubicBezTo>
                      <a:pt x="1239" y="3408"/>
                      <a:pt x="1350" y="3133"/>
                      <a:pt x="1460" y="2857"/>
                    </a:cubicBezTo>
                    <a:lnTo>
                      <a:pt x="1818" y="2180"/>
                    </a:lnTo>
                    <a:lnTo>
                      <a:pt x="2204" y="1503"/>
                    </a:lnTo>
                    <a:lnTo>
                      <a:pt x="2617" y="902"/>
                    </a:lnTo>
                    <a:lnTo>
                      <a:pt x="3058" y="375"/>
                    </a:lnTo>
                    <a:lnTo>
                      <a:pt x="3499" y="0"/>
                    </a:lnTo>
                    <a:lnTo>
                      <a:pt x="4738" y="2576"/>
                    </a:lnTo>
                    <a:cubicBezTo>
                      <a:pt x="4655" y="1542"/>
                      <a:pt x="4966" y="3440"/>
                      <a:pt x="4883" y="2406"/>
                    </a:cubicBezTo>
                    <a:cubicBezTo>
                      <a:pt x="4917" y="1428"/>
                      <a:pt x="4973" y="2989"/>
                      <a:pt x="5007" y="2011"/>
                    </a:cubicBezTo>
                    <a:cubicBezTo>
                      <a:pt x="5035" y="3027"/>
                      <a:pt x="5041" y="1503"/>
                      <a:pt x="5069" y="2518"/>
                    </a:cubicBezTo>
                    <a:cubicBezTo>
                      <a:pt x="5106" y="2612"/>
                      <a:pt x="5142" y="2706"/>
                      <a:pt x="5179" y="2801"/>
                    </a:cubicBezTo>
                    <a:lnTo>
                      <a:pt x="5944" y="1278"/>
                    </a:lnTo>
                    <a:lnTo>
                      <a:pt x="6474" y="0"/>
                    </a:lnTo>
                    <a:lnTo>
                      <a:pt x="6942" y="375"/>
                    </a:lnTo>
                    <a:lnTo>
                      <a:pt x="7383" y="902"/>
                    </a:lnTo>
                    <a:lnTo>
                      <a:pt x="7796" y="1503"/>
                    </a:lnTo>
                    <a:lnTo>
                      <a:pt x="8182" y="2180"/>
                    </a:lnTo>
                    <a:lnTo>
                      <a:pt x="8512" y="2857"/>
                    </a:lnTo>
                    <a:cubicBezTo>
                      <a:pt x="8622" y="3133"/>
                      <a:pt x="8733" y="3408"/>
                      <a:pt x="8843" y="3684"/>
                    </a:cubicBezTo>
                    <a:lnTo>
                      <a:pt x="9146" y="4436"/>
                    </a:lnTo>
                    <a:cubicBezTo>
                      <a:pt x="9229" y="4736"/>
                      <a:pt x="9311" y="5037"/>
                      <a:pt x="9394" y="5338"/>
                    </a:cubicBezTo>
                    <a:cubicBezTo>
                      <a:pt x="9458" y="5614"/>
                      <a:pt x="9523" y="5889"/>
                      <a:pt x="9587" y="6165"/>
                    </a:cubicBezTo>
                    <a:lnTo>
                      <a:pt x="9752" y="7067"/>
                    </a:lnTo>
                    <a:lnTo>
                      <a:pt x="9890" y="7970"/>
                    </a:lnTo>
                    <a:cubicBezTo>
                      <a:pt x="9917" y="8270"/>
                      <a:pt x="9945" y="8571"/>
                      <a:pt x="9972" y="8872"/>
                    </a:cubicBezTo>
                    <a:cubicBezTo>
                      <a:pt x="9981" y="9148"/>
                      <a:pt x="9991" y="9423"/>
                      <a:pt x="10000" y="9699"/>
                    </a:cubicBezTo>
                    <a:close/>
                  </a:path>
                </a:pathLst>
              </a:custGeom>
              <a:solidFill>
                <a:srgbClr val="B1D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1940"/>
              <p:cNvSpPr>
                <a:spLocks/>
              </p:cNvSpPr>
              <p:nvPr/>
            </p:nvSpPr>
            <p:spPr bwMode="auto">
              <a:xfrm>
                <a:off x="9569152" y="5360394"/>
                <a:ext cx="1152525" cy="431800"/>
              </a:xfrm>
              <a:custGeom>
                <a:avLst/>
                <a:gdLst>
                  <a:gd name="T0" fmla="*/ 726 w 726"/>
                  <a:gd name="T1" fmla="*/ 272 h 272"/>
                  <a:gd name="T2" fmla="*/ 726 w 726"/>
                  <a:gd name="T3" fmla="*/ 272 h 272"/>
                  <a:gd name="T4" fmla="*/ 0 w 726"/>
                  <a:gd name="T5" fmla="*/ 272 h 272"/>
                  <a:gd name="T6" fmla="*/ 0 w 726"/>
                  <a:gd name="T7" fmla="*/ 272 h 272"/>
                  <a:gd name="T8" fmla="*/ 2 w 726"/>
                  <a:gd name="T9" fmla="*/ 250 h 272"/>
                  <a:gd name="T10" fmla="*/ 8 w 726"/>
                  <a:gd name="T11" fmla="*/ 226 h 272"/>
                  <a:gd name="T12" fmla="*/ 16 w 726"/>
                  <a:gd name="T13" fmla="*/ 202 h 272"/>
                  <a:gd name="T14" fmla="*/ 28 w 726"/>
                  <a:gd name="T15" fmla="*/ 178 h 272"/>
                  <a:gd name="T16" fmla="*/ 44 w 726"/>
                  <a:gd name="T17" fmla="*/ 156 h 272"/>
                  <a:gd name="T18" fmla="*/ 62 w 726"/>
                  <a:gd name="T19" fmla="*/ 132 h 272"/>
                  <a:gd name="T20" fmla="*/ 82 w 726"/>
                  <a:gd name="T21" fmla="*/ 112 h 272"/>
                  <a:gd name="T22" fmla="*/ 106 w 726"/>
                  <a:gd name="T23" fmla="*/ 90 h 272"/>
                  <a:gd name="T24" fmla="*/ 132 w 726"/>
                  <a:gd name="T25" fmla="*/ 72 h 272"/>
                  <a:gd name="T26" fmla="*/ 160 w 726"/>
                  <a:gd name="T27" fmla="*/ 54 h 272"/>
                  <a:gd name="T28" fmla="*/ 190 w 726"/>
                  <a:gd name="T29" fmla="*/ 38 h 272"/>
                  <a:gd name="T30" fmla="*/ 222 w 726"/>
                  <a:gd name="T31" fmla="*/ 24 h 272"/>
                  <a:gd name="T32" fmla="*/ 254 w 726"/>
                  <a:gd name="T33" fmla="*/ 14 h 272"/>
                  <a:gd name="T34" fmla="*/ 290 w 726"/>
                  <a:gd name="T35" fmla="*/ 6 h 272"/>
                  <a:gd name="T36" fmla="*/ 326 w 726"/>
                  <a:gd name="T37" fmla="*/ 0 h 272"/>
                  <a:gd name="T38" fmla="*/ 362 w 726"/>
                  <a:gd name="T39" fmla="*/ 0 h 272"/>
                  <a:gd name="T40" fmla="*/ 362 w 726"/>
                  <a:gd name="T41" fmla="*/ 0 h 272"/>
                  <a:gd name="T42" fmla="*/ 400 w 726"/>
                  <a:gd name="T43" fmla="*/ 0 h 272"/>
                  <a:gd name="T44" fmla="*/ 436 w 726"/>
                  <a:gd name="T45" fmla="*/ 6 h 272"/>
                  <a:gd name="T46" fmla="*/ 470 w 726"/>
                  <a:gd name="T47" fmla="*/ 14 h 272"/>
                  <a:gd name="T48" fmla="*/ 504 w 726"/>
                  <a:gd name="T49" fmla="*/ 24 h 272"/>
                  <a:gd name="T50" fmla="*/ 536 w 726"/>
                  <a:gd name="T51" fmla="*/ 38 h 272"/>
                  <a:gd name="T52" fmla="*/ 566 w 726"/>
                  <a:gd name="T53" fmla="*/ 54 h 272"/>
                  <a:gd name="T54" fmla="*/ 594 w 726"/>
                  <a:gd name="T55" fmla="*/ 72 h 272"/>
                  <a:gd name="T56" fmla="*/ 618 w 726"/>
                  <a:gd name="T57" fmla="*/ 90 h 272"/>
                  <a:gd name="T58" fmla="*/ 642 w 726"/>
                  <a:gd name="T59" fmla="*/ 112 h 272"/>
                  <a:gd name="T60" fmla="*/ 664 w 726"/>
                  <a:gd name="T61" fmla="*/ 132 h 272"/>
                  <a:gd name="T62" fmla="*/ 682 w 726"/>
                  <a:gd name="T63" fmla="*/ 156 h 272"/>
                  <a:gd name="T64" fmla="*/ 696 w 726"/>
                  <a:gd name="T65" fmla="*/ 178 h 272"/>
                  <a:gd name="T66" fmla="*/ 708 w 726"/>
                  <a:gd name="T67" fmla="*/ 202 h 272"/>
                  <a:gd name="T68" fmla="*/ 718 w 726"/>
                  <a:gd name="T69" fmla="*/ 226 h 272"/>
                  <a:gd name="T70" fmla="*/ 724 w 726"/>
                  <a:gd name="T71" fmla="*/ 250 h 272"/>
                  <a:gd name="T72" fmla="*/ 726 w 726"/>
                  <a:gd name="T73" fmla="*/ 272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26" h="272">
                    <a:moveTo>
                      <a:pt x="726" y="272"/>
                    </a:moveTo>
                    <a:lnTo>
                      <a:pt x="726" y="272"/>
                    </a:lnTo>
                    <a:lnTo>
                      <a:pt x="0" y="272"/>
                    </a:lnTo>
                    <a:lnTo>
                      <a:pt x="0" y="272"/>
                    </a:lnTo>
                    <a:lnTo>
                      <a:pt x="2" y="250"/>
                    </a:lnTo>
                    <a:lnTo>
                      <a:pt x="8" y="226"/>
                    </a:lnTo>
                    <a:lnTo>
                      <a:pt x="16" y="202"/>
                    </a:lnTo>
                    <a:lnTo>
                      <a:pt x="28" y="178"/>
                    </a:lnTo>
                    <a:lnTo>
                      <a:pt x="44" y="156"/>
                    </a:lnTo>
                    <a:lnTo>
                      <a:pt x="62" y="132"/>
                    </a:lnTo>
                    <a:lnTo>
                      <a:pt x="82" y="112"/>
                    </a:lnTo>
                    <a:lnTo>
                      <a:pt x="106" y="90"/>
                    </a:lnTo>
                    <a:lnTo>
                      <a:pt x="132" y="72"/>
                    </a:lnTo>
                    <a:lnTo>
                      <a:pt x="160" y="54"/>
                    </a:lnTo>
                    <a:lnTo>
                      <a:pt x="190" y="38"/>
                    </a:lnTo>
                    <a:lnTo>
                      <a:pt x="222" y="24"/>
                    </a:lnTo>
                    <a:lnTo>
                      <a:pt x="254" y="14"/>
                    </a:lnTo>
                    <a:lnTo>
                      <a:pt x="290" y="6"/>
                    </a:lnTo>
                    <a:lnTo>
                      <a:pt x="326" y="0"/>
                    </a:lnTo>
                    <a:lnTo>
                      <a:pt x="362" y="0"/>
                    </a:lnTo>
                    <a:lnTo>
                      <a:pt x="362" y="0"/>
                    </a:lnTo>
                    <a:lnTo>
                      <a:pt x="400" y="0"/>
                    </a:lnTo>
                    <a:lnTo>
                      <a:pt x="436" y="6"/>
                    </a:lnTo>
                    <a:lnTo>
                      <a:pt x="470" y="14"/>
                    </a:lnTo>
                    <a:lnTo>
                      <a:pt x="504" y="24"/>
                    </a:lnTo>
                    <a:lnTo>
                      <a:pt x="536" y="38"/>
                    </a:lnTo>
                    <a:lnTo>
                      <a:pt x="566" y="54"/>
                    </a:lnTo>
                    <a:lnTo>
                      <a:pt x="594" y="72"/>
                    </a:lnTo>
                    <a:lnTo>
                      <a:pt x="618" y="90"/>
                    </a:lnTo>
                    <a:lnTo>
                      <a:pt x="642" y="112"/>
                    </a:lnTo>
                    <a:lnTo>
                      <a:pt x="664" y="132"/>
                    </a:lnTo>
                    <a:lnTo>
                      <a:pt x="682" y="156"/>
                    </a:lnTo>
                    <a:lnTo>
                      <a:pt x="696" y="178"/>
                    </a:lnTo>
                    <a:lnTo>
                      <a:pt x="708" y="202"/>
                    </a:lnTo>
                    <a:lnTo>
                      <a:pt x="718" y="226"/>
                    </a:lnTo>
                    <a:lnTo>
                      <a:pt x="724" y="250"/>
                    </a:lnTo>
                    <a:lnTo>
                      <a:pt x="726" y="27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1942"/>
              <p:cNvSpPr>
                <a:spLocks/>
              </p:cNvSpPr>
              <p:nvPr/>
            </p:nvSpPr>
            <p:spPr bwMode="auto">
              <a:xfrm>
                <a:off x="10000952" y="5360394"/>
                <a:ext cx="288925" cy="184150"/>
              </a:xfrm>
              <a:custGeom>
                <a:avLst/>
                <a:gdLst>
                  <a:gd name="T0" fmla="*/ 90 w 182"/>
                  <a:gd name="T1" fmla="*/ 116 h 116"/>
                  <a:gd name="T2" fmla="*/ 0 w 182"/>
                  <a:gd name="T3" fmla="*/ 0 h 116"/>
                  <a:gd name="T4" fmla="*/ 182 w 182"/>
                  <a:gd name="T5" fmla="*/ 0 h 116"/>
                  <a:gd name="T6" fmla="*/ 90 w 182"/>
                  <a:gd name="T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" h="116">
                    <a:moveTo>
                      <a:pt x="90" y="116"/>
                    </a:moveTo>
                    <a:lnTo>
                      <a:pt x="0" y="0"/>
                    </a:lnTo>
                    <a:lnTo>
                      <a:pt x="182" y="0"/>
                    </a:lnTo>
                    <a:lnTo>
                      <a:pt x="90" y="11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1943"/>
              <p:cNvSpPr>
                <a:spLocks/>
              </p:cNvSpPr>
              <p:nvPr/>
            </p:nvSpPr>
            <p:spPr bwMode="auto">
              <a:xfrm>
                <a:off x="9927927" y="5373094"/>
                <a:ext cx="158750" cy="190500"/>
              </a:xfrm>
              <a:custGeom>
                <a:avLst/>
                <a:gdLst>
                  <a:gd name="T0" fmla="*/ 100 w 100"/>
                  <a:gd name="T1" fmla="*/ 62 h 120"/>
                  <a:gd name="T2" fmla="*/ 0 w 100"/>
                  <a:gd name="T3" fmla="*/ 120 h 120"/>
                  <a:gd name="T4" fmla="*/ 20 w 100"/>
                  <a:gd name="T5" fmla="*/ 6 h 120"/>
                  <a:gd name="T6" fmla="*/ 50 w 100"/>
                  <a:gd name="T7" fmla="*/ 0 h 120"/>
                  <a:gd name="T8" fmla="*/ 10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100" y="62"/>
                    </a:moveTo>
                    <a:lnTo>
                      <a:pt x="0" y="120"/>
                    </a:lnTo>
                    <a:lnTo>
                      <a:pt x="20" y="6"/>
                    </a:lnTo>
                    <a:lnTo>
                      <a:pt x="50" y="0"/>
                    </a:lnTo>
                    <a:lnTo>
                      <a:pt x="100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1944"/>
              <p:cNvSpPr>
                <a:spLocks/>
              </p:cNvSpPr>
              <p:nvPr/>
            </p:nvSpPr>
            <p:spPr bwMode="auto">
              <a:xfrm>
                <a:off x="9927927" y="5373094"/>
                <a:ext cx="158750" cy="190500"/>
              </a:xfrm>
              <a:custGeom>
                <a:avLst/>
                <a:gdLst>
                  <a:gd name="T0" fmla="*/ 100 w 100"/>
                  <a:gd name="T1" fmla="*/ 62 h 120"/>
                  <a:gd name="T2" fmla="*/ 0 w 100"/>
                  <a:gd name="T3" fmla="*/ 120 h 120"/>
                  <a:gd name="T4" fmla="*/ 20 w 100"/>
                  <a:gd name="T5" fmla="*/ 6 h 120"/>
                  <a:gd name="T6" fmla="*/ 50 w 100"/>
                  <a:gd name="T7" fmla="*/ 0 h 120"/>
                  <a:gd name="T8" fmla="*/ 10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100" y="62"/>
                    </a:moveTo>
                    <a:lnTo>
                      <a:pt x="0" y="120"/>
                    </a:lnTo>
                    <a:lnTo>
                      <a:pt x="20" y="6"/>
                    </a:lnTo>
                    <a:lnTo>
                      <a:pt x="50" y="0"/>
                    </a:lnTo>
                    <a:lnTo>
                      <a:pt x="10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1945"/>
              <p:cNvSpPr>
                <a:spLocks/>
              </p:cNvSpPr>
              <p:nvPr/>
            </p:nvSpPr>
            <p:spPr bwMode="auto">
              <a:xfrm>
                <a:off x="10200977" y="5373094"/>
                <a:ext cx="158750" cy="190500"/>
              </a:xfrm>
              <a:custGeom>
                <a:avLst/>
                <a:gdLst>
                  <a:gd name="T0" fmla="*/ 0 w 100"/>
                  <a:gd name="T1" fmla="*/ 62 h 120"/>
                  <a:gd name="T2" fmla="*/ 100 w 100"/>
                  <a:gd name="T3" fmla="*/ 120 h 120"/>
                  <a:gd name="T4" fmla="*/ 80 w 100"/>
                  <a:gd name="T5" fmla="*/ 6 h 120"/>
                  <a:gd name="T6" fmla="*/ 52 w 100"/>
                  <a:gd name="T7" fmla="*/ 0 h 120"/>
                  <a:gd name="T8" fmla="*/ 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0" y="62"/>
                    </a:moveTo>
                    <a:lnTo>
                      <a:pt x="100" y="120"/>
                    </a:lnTo>
                    <a:lnTo>
                      <a:pt x="80" y="6"/>
                    </a:lnTo>
                    <a:lnTo>
                      <a:pt x="52" y="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1946"/>
              <p:cNvSpPr>
                <a:spLocks/>
              </p:cNvSpPr>
              <p:nvPr/>
            </p:nvSpPr>
            <p:spPr bwMode="auto">
              <a:xfrm>
                <a:off x="10200977" y="5373094"/>
                <a:ext cx="158750" cy="190500"/>
              </a:xfrm>
              <a:custGeom>
                <a:avLst/>
                <a:gdLst>
                  <a:gd name="T0" fmla="*/ 0 w 100"/>
                  <a:gd name="T1" fmla="*/ 62 h 120"/>
                  <a:gd name="T2" fmla="*/ 100 w 100"/>
                  <a:gd name="T3" fmla="*/ 120 h 120"/>
                  <a:gd name="T4" fmla="*/ 80 w 100"/>
                  <a:gd name="T5" fmla="*/ 6 h 120"/>
                  <a:gd name="T6" fmla="*/ 52 w 100"/>
                  <a:gd name="T7" fmla="*/ 0 h 120"/>
                  <a:gd name="T8" fmla="*/ 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0" y="62"/>
                    </a:moveTo>
                    <a:lnTo>
                      <a:pt x="100" y="120"/>
                    </a:lnTo>
                    <a:lnTo>
                      <a:pt x="80" y="6"/>
                    </a:lnTo>
                    <a:lnTo>
                      <a:pt x="52" y="0"/>
                    </a:lnTo>
                    <a:lnTo>
                      <a:pt x="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1959"/>
              <p:cNvSpPr>
                <a:spLocks noEditPoints="1"/>
              </p:cNvSpPr>
              <p:nvPr/>
            </p:nvSpPr>
            <p:spPr bwMode="auto">
              <a:xfrm>
                <a:off x="10137477" y="5392144"/>
                <a:ext cx="22225" cy="0"/>
              </a:xfrm>
              <a:custGeom>
                <a:avLst/>
                <a:gdLst>
                  <a:gd name="T0" fmla="*/ 0 w 14"/>
                  <a:gd name="T1" fmla="*/ 0 w 14"/>
                  <a:gd name="T2" fmla="*/ 2 w 14"/>
                  <a:gd name="T3" fmla="*/ 0 w 14"/>
                  <a:gd name="T4" fmla="*/ 2 w 14"/>
                  <a:gd name="T5" fmla="*/ 2 w 14"/>
                  <a:gd name="T6" fmla="*/ 2 w 14"/>
                  <a:gd name="T7" fmla="*/ 4 w 14"/>
                  <a:gd name="T8" fmla="*/ 2 w 14"/>
                  <a:gd name="T9" fmla="*/ 4 w 14"/>
                  <a:gd name="T10" fmla="*/ 4 w 14"/>
                  <a:gd name="T11" fmla="*/ 4 w 14"/>
                  <a:gd name="T12" fmla="*/ 6 w 14"/>
                  <a:gd name="T13" fmla="*/ 4 w 14"/>
                  <a:gd name="T14" fmla="*/ 6 w 14"/>
                  <a:gd name="T15" fmla="*/ 6 w 14"/>
                  <a:gd name="T16" fmla="*/ 6 w 14"/>
                  <a:gd name="T17" fmla="*/ 6 w 14"/>
                  <a:gd name="T18" fmla="*/ 6 w 14"/>
                  <a:gd name="T19" fmla="*/ 6 w 14"/>
                  <a:gd name="T20" fmla="*/ 8 w 14"/>
                  <a:gd name="T21" fmla="*/ 8 w 14"/>
                  <a:gd name="T22" fmla="*/ 8 w 14"/>
                  <a:gd name="T23" fmla="*/ 8 w 14"/>
                  <a:gd name="T24" fmla="*/ 8 w 14"/>
                  <a:gd name="T25" fmla="*/ 10 w 14"/>
                  <a:gd name="T26" fmla="*/ 10 w 14"/>
                  <a:gd name="T27" fmla="*/ 10 w 14"/>
                  <a:gd name="T28" fmla="*/ 10 w 14"/>
                  <a:gd name="T29" fmla="*/ 10 w 14"/>
                  <a:gd name="T30" fmla="*/ 12 w 14"/>
                  <a:gd name="T31" fmla="*/ 10 w 14"/>
                  <a:gd name="T32" fmla="*/ 12 w 14"/>
                  <a:gd name="T33" fmla="*/ 12 w 14"/>
                  <a:gd name="T34" fmla="*/ 12 w 14"/>
                  <a:gd name="T35" fmla="*/ 14 w 14"/>
                  <a:gd name="T36" fmla="*/ 12 w 14"/>
                  <a:gd name="T37" fmla="*/ 14 w 14"/>
                  <a:gd name="T38" fmla="*/ 14 w 14"/>
                  <a:gd name="T39" fmla="*/ 14 w 14"/>
                  <a:gd name="T40" fmla="*/ 14 w 14"/>
                  <a:gd name="T41" fmla="*/ 14 w 1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  <a:cxn ang="0">
                    <a:pos x="T12" y="0"/>
                  </a:cxn>
                  <a:cxn ang="0">
                    <a:pos x="T13" y="0"/>
                  </a:cxn>
                  <a:cxn ang="0">
                    <a:pos x="T14" y="0"/>
                  </a:cxn>
                  <a:cxn ang="0">
                    <a:pos x="T15" y="0"/>
                  </a:cxn>
                  <a:cxn ang="0">
                    <a:pos x="T16" y="0"/>
                  </a:cxn>
                  <a:cxn ang="0">
                    <a:pos x="T17" y="0"/>
                  </a:cxn>
                  <a:cxn ang="0">
                    <a:pos x="T18" y="0"/>
                  </a:cxn>
                  <a:cxn ang="0">
                    <a:pos x="T19" y="0"/>
                  </a:cxn>
                  <a:cxn ang="0">
                    <a:pos x="T20" y="0"/>
                  </a:cxn>
                  <a:cxn ang="0">
                    <a:pos x="T21" y="0"/>
                  </a:cxn>
                  <a:cxn ang="0">
                    <a:pos x="T22" y="0"/>
                  </a:cxn>
                  <a:cxn ang="0">
                    <a:pos x="T23" y="0"/>
                  </a:cxn>
                  <a:cxn ang="0">
                    <a:pos x="T24" y="0"/>
                  </a:cxn>
                  <a:cxn ang="0">
                    <a:pos x="T25" y="0"/>
                  </a:cxn>
                  <a:cxn ang="0">
                    <a:pos x="T26" y="0"/>
                  </a:cxn>
                  <a:cxn ang="0">
                    <a:pos x="T27" y="0"/>
                  </a:cxn>
                  <a:cxn ang="0">
                    <a:pos x="T28" y="0"/>
                  </a:cxn>
                  <a:cxn ang="0">
                    <a:pos x="T29" y="0"/>
                  </a:cxn>
                  <a:cxn ang="0">
                    <a:pos x="T30" y="0"/>
                  </a:cxn>
                  <a:cxn ang="0">
                    <a:pos x="T31" y="0"/>
                  </a:cxn>
                  <a:cxn ang="0">
                    <a:pos x="T32" y="0"/>
                  </a:cxn>
                  <a:cxn ang="0">
                    <a:pos x="T33" y="0"/>
                  </a:cxn>
                  <a:cxn ang="0">
                    <a:pos x="T34" y="0"/>
                  </a:cxn>
                  <a:cxn ang="0">
                    <a:pos x="T35" y="0"/>
                  </a:cxn>
                  <a:cxn ang="0">
                    <a:pos x="T36" y="0"/>
                  </a:cxn>
                  <a:cxn ang="0">
                    <a:pos x="T37" y="0"/>
                  </a:cxn>
                  <a:cxn ang="0">
                    <a:pos x="T38" y="0"/>
                  </a:cxn>
                  <a:cxn ang="0">
                    <a:pos x="T39" y="0"/>
                  </a:cxn>
                  <a:cxn ang="0">
                    <a:pos x="T40" y="0"/>
                  </a:cxn>
                  <a:cxn ang="0">
                    <a:pos x="T41" y="0"/>
                  </a:cxn>
                </a:cxnLst>
                <a:rect l="0" t="0" r="r" b="b"/>
                <a:pathLst>
                  <a:path w="1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Rectangle 1960"/>
              <p:cNvSpPr>
                <a:spLocks noChangeArrowheads="1"/>
              </p:cNvSpPr>
              <p:nvPr/>
            </p:nvSpPr>
            <p:spPr bwMode="auto">
              <a:xfrm>
                <a:off x="101374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Rectangle 1961"/>
              <p:cNvSpPr>
                <a:spLocks noChangeArrowheads="1"/>
              </p:cNvSpPr>
              <p:nvPr/>
            </p:nvSpPr>
            <p:spPr bwMode="auto">
              <a:xfrm>
                <a:off x="1013747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9" name="Rectangle 1962"/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0" name="Rectangle 1963"/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1" name="Rectangle 1964"/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Rectangle 1965"/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Rectangle 1966"/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Rectangle 1967"/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Rectangle 1968"/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Rectangle 1969"/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Rectangle 1970"/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Rectangle 1971"/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Rectangle 1972"/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Rectangle 1973"/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Rectangle 1974"/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Rectangle 1975"/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Rectangle 1976"/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Rectangle 1980"/>
              <p:cNvSpPr>
                <a:spLocks noChangeArrowheads="1"/>
              </p:cNvSpPr>
              <p:nvPr/>
            </p:nvSpPr>
            <p:spPr bwMode="auto">
              <a:xfrm>
                <a:off x="101374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Rectangle 1981"/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Rectangle 1982"/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Rectangle 1983"/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Rectangle 1984"/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Rectangle 1985"/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Rectangle 1986"/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1" name="Rectangle 1987"/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Rectangle 1988"/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Rectangle 1989"/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Rectangle 1990"/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Rectangle 1991"/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Rectangle 1992"/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Rectangle 1993"/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Rectangle 1994"/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Rectangle 1995"/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50" name="Group 249"/>
              <p:cNvGrpSpPr/>
              <p:nvPr/>
            </p:nvGrpSpPr>
            <p:grpSpPr>
              <a:xfrm>
                <a:off x="10088264" y="5451178"/>
                <a:ext cx="117475" cy="339725"/>
                <a:chOff x="11645902" y="5451178"/>
                <a:chExt cx="117475" cy="339725"/>
              </a:xfrm>
            </p:grpSpPr>
            <p:sp>
              <p:nvSpPr>
                <p:cNvPr id="251" name="Freeform 2423"/>
                <p:cNvSpPr>
                  <a:spLocks/>
                </p:cNvSpPr>
                <p:nvPr/>
              </p:nvSpPr>
              <p:spPr bwMode="auto">
                <a:xfrm>
                  <a:off x="11645902" y="5451178"/>
                  <a:ext cx="117475" cy="82550"/>
                </a:xfrm>
                <a:custGeom>
                  <a:avLst/>
                  <a:gdLst>
                    <a:gd name="T0" fmla="*/ 74 w 74"/>
                    <a:gd name="T1" fmla="*/ 18 h 52"/>
                    <a:gd name="T2" fmla="*/ 74 w 74"/>
                    <a:gd name="T3" fmla="*/ 18 h 52"/>
                    <a:gd name="T4" fmla="*/ 72 w 74"/>
                    <a:gd name="T5" fmla="*/ 24 h 52"/>
                    <a:gd name="T6" fmla="*/ 70 w 74"/>
                    <a:gd name="T7" fmla="*/ 32 h 52"/>
                    <a:gd name="T8" fmla="*/ 68 w 74"/>
                    <a:gd name="T9" fmla="*/ 36 h 52"/>
                    <a:gd name="T10" fmla="*/ 62 w 74"/>
                    <a:gd name="T11" fmla="*/ 42 h 52"/>
                    <a:gd name="T12" fmla="*/ 58 w 74"/>
                    <a:gd name="T13" fmla="*/ 46 h 52"/>
                    <a:gd name="T14" fmla="*/ 50 w 74"/>
                    <a:gd name="T15" fmla="*/ 50 h 52"/>
                    <a:gd name="T16" fmla="*/ 44 w 74"/>
                    <a:gd name="T17" fmla="*/ 50 h 52"/>
                    <a:gd name="T18" fmla="*/ 36 w 74"/>
                    <a:gd name="T19" fmla="*/ 52 h 52"/>
                    <a:gd name="T20" fmla="*/ 36 w 74"/>
                    <a:gd name="T21" fmla="*/ 52 h 52"/>
                    <a:gd name="T22" fmla="*/ 28 w 74"/>
                    <a:gd name="T23" fmla="*/ 50 h 52"/>
                    <a:gd name="T24" fmla="*/ 22 w 74"/>
                    <a:gd name="T25" fmla="*/ 50 h 52"/>
                    <a:gd name="T26" fmla="*/ 16 w 74"/>
                    <a:gd name="T27" fmla="*/ 46 h 52"/>
                    <a:gd name="T28" fmla="*/ 10 w 74"/>
                    <a:gd name="T29" fmla="*/ 42 h 52"/>
                    <a:gd name="T30" fmla="*/ 6 w 74"/>
                    <a:gd name="T31" fmla="*/ 36 h 52"/>
                    <a:gd name="T32" fmla="*/ 2 w 74"/>
                    <a:gd name="T33" fmla="*/ 32 h 52"/>
                    <a:gd name="T34" fmla="*/ 0 w 74"/>
                    <a:gd name="T35" fmla="*/ 24 h 52"/>
                    <a:gd name="T36" fmla="*/ 0 w 74"/>
                    <a:gd name="T37" fmla="*/ 18 h 52"/>
                    <a:gd name="T38" fmla="*/ 0 w 74"/>
                    <a:gd name="T39" fmla="*/ 18 h 52"/>
                    <a:gd name="T40" fmla="*/ 0 w 74"/>
                    <a:gd name="T41" fmla="*/ 12 h 52"/>
                    <a:gd name="T42" fmla="*/ 2 w 74"/>
                    <a:gd name="T43" fmla="*/ 8 h 52"/>
                    <a:gd name="T44" fmla="*/ 6 w 74"/>
                    <a:gd name="T45" fmla="*/ 4 h 52"/>
                    <a:gd name="T46" fmla="*/ 10 w 74"/>
                    <a:gd name="T47" fmla="*/ 2 h 52"/>
                    <a:gd name="T48" fmla="*/ 22 w 74"/>
                    <a:gd name="T49" fmla="*/ 0 h 52"/>
                    <a:gd name="T50" fmla="*/ 36 w 74"/>
                    <a:gd name="T51" fmla="*/ 0 h 52"/>
                    <a:gd name="T52" fmla="*/ 36 w 74"/>
                    <a:gd name="T53" fmla="*/ 0 h 52"/>
                    <a:gd name="T54" fmla="*/ 50 w 74"/>
                    <a:gd name="T55" fmla="*/ 0 h 52"/>
                    <a:gd name="T56" fmla="*/ 62 w 74"/>
                    <a:gd name="T57" fmla="*/ 2 h 52"/>
                    <a:gd name="T58" fmla="*/ 68 w 74"/>
                    <a:gd name="T59" fmla="*/ 4 h 52"/>
                    <a:gd name="T60" fmla="*/ 70 w 74"/>
                    <a:gd name="T61" fmla="*/ 8 h 52"/>
                    <a:gd name="T62" fmla="*/ 72 w 74"/>
                    <a:gd name="T63" fmla="*/ 12 h 52"/>
                    <a:gd name="T64" fmla="*/ 74 w 74"/>
                    <a:gd name="T65" fmla="*/ 18 h 52"/>
                    <a:gd name="T66" fmla="*/ 74 w 74"/>
                    <a:gd name="T67" fmla="*/ 1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4" h="52">
                      <a:moveTo>
                        <a:pt x="74" y="18"/>
                      </a:moveTo>
                      <a:lnTo>
                        <a:pt x="74" y="18"/>
                      </a:lnTo>
                      <a:lnTo>
                        <a:pt x="72" y="24"/>
                      </a:lnTo>
                      <a:lnTo>
                        <a:pt x="70" y="32"/>
                      </a:lnTo>
                      <a:lnTo>
                        <a:pt x="68" y="36"/>
                      </a:lnTo>
                      <a:lnTo>
                        <a:pt x="62" y="42"/>
                      </a:lnTo>
                      <a:lnTo>
                        <a:pt x="58" y="46"/>
                      </a:lnTo>
                      <a:lnTo>
                        <a:pt x="50" y="50"/>
                      </a:lnTo>
                      <a:lnTo>
                        <a:pt x="44" y="50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28" y="50"/>
                      </a:lnTo>
                      <a:lnTo>
                        <a:pt x="22" y="50"/>
                      </a:lnTo>
                      <a:lnTo>
                        <a:pt x="16" y="46"/>
                      </a:lnTo>
                      <a:lnTo>
                        <a:pt x="10" y="42"/>
                      </a:lnTo>
                      <a:lnTo>
                        <a:pt x="6" y="36"/>
                      </a:lnTo>
                      <a:lnTo>
                        <a:pt x="2" y="32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2" y="8"/>
                      </a:lnTo>
                      <a:lnTo>
                        <a:pt x="6" y="4"/>
                      </a:lnTo>
                      <a:lnTo>
                        <a:pt x="10" y="2"/>
                      </a:lnTo>
                      <a:lnTo>
                        <a:pt x="22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50" y="0"/>
                      </a:lnTo>
                      <a:lnTo>
                        <a:pt x="62" y="2"/>
                      </a:lnTo>
                      <a:lnTo>
                        <a:pt x="68" y="4"/>
                      </a:lnTo>
                      <a:lnTo>
                        <a:pt x="70" y="8"/>
                      </a:lnTo>
                      <a:lnTo>
                        <a:pt x="72" y="12"/>
                      </a:lnTo>
                      <a:lnTo>
                        <a:pt x="74" y="18"/>
                      </a:lnTo>
                      <a:lnTo>
                        <a:pt x="74" y="18"/>
                      </a:lnTo>
                      <a:close/>
                    </a:path>
                  </a:pathLst>
                </a:custGeom>
                <a:solidFill>
                  <a:srgbClr val="795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2424"/>
                <p:cNvSpPr>
                  <a:spLocks/>
                </p:cNvSpPr>
                <p:nvPr/>
              </p:nvSpPr>
              <p:spPr bwMode="auto">
                <a:xfrm>
                  <a:off x="11652252" y="5492453"/>
                  <a:ext cx="104775" cy="298450"/>
                </a:xfrm>
                <a:custGeom>
                  <a:avLst/>
                  <a:gdLst>
                    <a:gd name="T0" fmla="*/ 66 w 66"/>
                    <a:gd name="T1" fmla="*/ 188 h 188"/>
                    <a:gd name="T2" fmla="*/ 0 w 66"/>
                    <a:gd name="T3" fmla="*/ 188 h 188"/>
                    <a:gd name="T4" fmla="*/ 16 w 66"/>
                    <a:gd name="T5" fmla="*/ 0 h 188"/>
                    <a:gd name="T6" fmla="*/ 50 w 66"/>
                    <a:gd name="T7" fmla="*/ 0 h 188"/>
                    <a:gd name="T8" fmla="*/ 66 w 66"/>
                    <a:gd name="T9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188">
                      <a:moveTo>
                        <a:pt x="66" y="188"/>
                      </a:moveTo>
                      <a:lnTo>
                        <a:pt x="0" y="188"/>
                      </a:lnTo>
                      <a:lnTo>
                        <a:pt x="16" y="0"/>
                      </a:lnTo>
                      <a:lnTo>
                        <a:pt x="50" y="0"/>
                      </a:lnTo>
                      <a:lnTo>
                        <a:pt x="66" y="188"/>
                      </a:lnTo>
                      <a:close/>
                    </a:path>
                  </a:pathLst>
                </a:custGeom>
                <a:solidFill>
                  <a:srgbClr val="795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2425"/>
                <p:cNvSpPr>
                  <a:spLocks/>
                </p:cNvSpPr>
                <p:nvPr/>
              </p:nvSpPr>
              <p:spPr bwMode="auto">
                <a:xfrm>
                  <a:off x="11668127" y="5536903"/>
                  <a:ext cx="69850" cy="73025"/>
                </a:xfrm>
                <a:custGeom>
                  <a:avLst/>
                  <a:gdLst>
                    <a:gd name="T0" fmla="*/ 0 w 44"/>
                    <a:gd name="T1" fmla="*/ 46 h 46"/>
                    <a:gd name="T2" fmla="*/ 44 w 44"/>
                    <a:gd name="T3" fmla="*/ 26 h 46"/>
                    <a:gd name="T4" fmla="*/ 42 w 44"/>
                    <a:gd name="T5" fmla="*/ 0 h 46"/>
                    <a:gd name="T6" fmla="*/ 2 w 44"/>
                    <a:gd name="T7" fmla="*/ 18 h 46"/>
                    <a:gd name="T8" fmla="*/ 0 w 44"/>
                    <a:gd name="T9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6">
                      <a:moveTo>
                        <a:pt x="0" y="46"/>
                      </a:moveTo>
                      <a:lnTo>
                        <a:pt x="44" y="26"/>
                      </a:lnTo>
                      <a:lnTo>
                        <a:pt x="42" y="0"/>
                      </a:lnTo>
                      <a:lnTo>
                        <a:pt x="2" y="18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solidFill>
                  <a:srgbClr val="B1A2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2426"/>
                <p:cNvSpPr>
                  <a:spLocks/>
                </p:cNvSpPr>
                <p:nvPr/>
              </p:nvSpPr>
              <p:spPr bwMode="auto">
                <a:xfrm>
                  <a:off x="11658602" y="5622628"/>
                  <a:ext cx="85725" cy="82550"/>
                </a:xfrm>
                <a:custGeom>
                  <a:avLst/>
                  <a:gdLst>
                    <a:gd name="T0" fmla="*/ 0 w 54"/>
                    <a:gd name="T1" fmla="*/ 52 h 52"/>
                    <a:gd name="T2" fmla="*/ 54 w 54"/>
                    <a:gd name="T3" fmla="*/ 26 h 52"/>
                    <a:gd name="T4" fmla="*/ 52 w 54"/>
                    <a:gd name="T5" fmla="*/ 0 h 52"/>
                    <a:gd name="T6" fmla="*/ 2 w 54"/>
                    <a:gd name="T7" fmla="*/ 24 h 52"/>
                    <a:gd name="T8" fmla="*/ 0 w 54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" h="52">
                      <a:moveTo>
                        <a:pt x="0" y="52"/>
                      </a:moveTo>
                      <a:lnTo>
                        <a:pt x="54" y="26"/>
                      </a:lnTo>
                      <a:lnTo>
                        <a:pt x="52" y="0"/>
                      </a:lnTo>
                      <a:lnTo>
                        <a:pt x="2" y="24"/>
                      </a:lnTo>
                      <a:lnTo>
                        <a:pt x="0" y="52"/>
                      </a:lnTo>
                      <a:close/>
                    </a:path>
                  </a:pathLst>
                </a:custGeom>
                <a:solidFill>
                  <a:srgbClr val="B1A2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2427"/>
                <p:cNvSpPr>
                  <a:spLocks/>
                </p:cNvSpPr>
                <p:nvPr/>
              </p:nvSpPr>
              <p:spPr bwMode="auto">
                <a:xfrm>
                  <a:off x="11652252" y="5711528"/>
                  <a:ext cx="101600" cy="79375"/>
                </a:xfrm>
                <a:custGeom>
                  <a:avLst/>
                  <a:gdLst>
                    <a:gd name="T0" fmla="*/ 62 w 64"/>
                    <a:gd name="T1" fmla="*/ 0 h 50"/>
                    <a:gd name="T2" fmla="*/ 2 w 64"/>
                    <a:gd name="T3" fmla="*/ 30 h 50"/>
                    <a:gd name="T4" fmla="*/ 0 w 64"/>
                    <a:gd name="T5" fmla="*/ 50 h 50"/>
                    <a:gd name="T6" fmla="*/ 14 w 64"/>
                    <a:gd name="T7" fmla="*/ 50 h 50"/>
                    <a:gd name="T8" fmla="*/ 64 w 64"/>
                    <a:gd name="T9" fmla="*/ 26 h 50"/>
                    <a:gd name="T10" fmla="*/ 62 w 64"/>
                    <a:gd name="T1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4" h="50">
                      <a:moveTo>
                        <a:pt x="62" y="0"/>
                      </a:moveTo>
                      <a:lnTo>
                        <a:pt x="2" y="30"/>
                      </a:lnTo>
                      <a:lnTo>
                        <a:pt x="0" y="50"/>
                      </a:lnTo>
                      <a:lnTo>
                        <a:pt x="14" y="50"/>
                      </a:lnTo>
                      <a:lnTo>
                        <a:pt x="64" y="26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solidFill>
                  <a:srgbClr val="B1A2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16503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7" name="Picture 456" descr="Shape, rectangle, square&#10;&#10;Description automatically generated">
            <a:extLst>
              <a:ext uri="{FF2B5EF4-FFF2-40B4-BE49-F238E27FC236}">
                <a16:creationId xmlns:a16="http://schemas.microsoft.com/office/drawing/2014/main" id="{B10AECB1-98DD-B04D-94C8-2CAEDC1630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525" y="2823180"/>
            <a:ext cx="6668288" cy="2230507"/>
          </a:xfrm>
          <a:prstGeom prst="rect">
            <a:avLst/>
          </a:prstGeom>
        </p:spPr>
      </p:pic>
      <p:pic>
        <p:nvPicPr>
          <p:cNvPr id="458" name="Picture 457" descr="Shape, rectangle&#10;&#10;Description automatically generated">
            <a:extLst>
              <a:ext uri="{FF2B5EF4-FFF2-40B4-BE49-F238E27FC236}">
                <a16:creationId xmlns:a16="http://schemas.microsoft.com/office/drawing/2014/main" id="{B982D291-5F0E-B944-A8A8-240D40212A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6687" y="630768"/>
            <a:ext cx="6668288" cy="2230507"/>
          </a:xfrm>
          <a:prstGeom prst="rect">
            <a:avLst/>
          </a:prstGeom>
        </p:spPr>
      </p:pic>
      <p:sp>
        <p:nvSpPr>
          <p:cNvPr id="454" name="Oval 453">
            <a:extLst>
              <a:ext uri="{FF2B5EF4-FFF2-40B4-BE49-F238E27FC236}">
                <a16:creationId xmlns:a16="http://schemas.microsoft.com/office/drawing/2014/main" id="{9CFA33FC-DFDF-8F45-9121-F865CE619BF4}"/>
              </a:ext>
            </a:extLst>
          </p:cNvPr>
          <p:cNvSpPr/>
          <p:nvPr/>
        </p:nvSpPr>
        <p:spPr>
          <a:xfrm>
            <a:off x="322267" y="3342597"/>
            <a:ext cx="1284420" cy="1284420"/>
          </a:xfrm>
          <a:prstGeom prst="ellipse">
            <a:avLst/>
          </a:prstGeom>
          <a:solidFill>
            <a:srgbClr val="F48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8072"/>
              </a:solidFill>
            </a:endParaRP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id="{0B9290A7-96BC-AA4A-8B2A-EE5E1F7ED98B}"/>
              </a:ext>
            </a:extLst>
          </p:cNvPr>
          <p:cNvSpPr/>
          <p:nvPr/>
        </p:nvSpPr>
        <p:spPr>
          <a:xfrm>
            <a:off x="322267" y="1221189"/>
            <a:ext cx="1284420" cy="1284420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807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826914" y="770140"/>
            <a:ext cx="1986472" cy="23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1" b="1" dirty="0">
                <a:solidFill>
                  <a:srgbClr val="A2B427"/>
                </a:solidFill>
              </a:rPr>
              <a:t>Create RAM authorisation (4 mins)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703690" y="3016512"/>
            <a:ext cx="2432951" cy="23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1" b="1" dirty="0">
                <a:solidFill>
                  <a:srgbClr val="F48072"/>
                </a:solidFill>
              </a:rPr>
              <a:t>Accept authorisations and login (5 mins)</a:t>
            </a:r>
          </a:p>
        </p:txBody>
      </p:sp>
      <p:sp>
        <p:nvSpPr>
          <p:cNvPr id="59" name="Rectangle 58"/>
          <p:cNvSpPr/>
          <p:nvPr/>
        </p:nvSpPr>
        <p:spPr>
          <a:xfrm>
            <a:off x="3891723" y="4244726"/>
            <a:ext cx="1175713" cy="5889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Go to RAM and accept the Authorisation </a:t>
            </a:r>
            <a:br>
              <a:rPr lang="en-AU" sz="800" dirty="0">
                <a:solidFill>
                  <a:srgbClr val="50535A"/>
                </a:solidFill>
              </a:rPr>
            </a:br>
            <a:r>
              <a:rPr lang="en-AU" sz="800" dirty="0">
                <a:solidFill>
                  <a:srgbClr val="50535A"/>
                </a:solidFill>
              </a:rPr>
              <a:t>sent by Toni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320319" y="4223339"/>
            <a:ext cx="1195235" cy="833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Go to eSAM and accept the invitation sent by Toni and link the account to myGovID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749287" y="4242575"/>
            <a:ext cx="1095909" cy="381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Log in to ESS Web with myGovID</a:t>
            </a:r>
          </a:p>
        </p:txBody>
      </p:sp>
      <p:grpSp>
        <p:nvGrpSpPr>
          <p:cNvPr id="74" name="Group 54"/>
          <p:cNvGrpSpPr/>
          <p:nvPr/>
        </p:nvGrpSpPr>
        <p:grpSpPr>
          <a:xfrm>
            <a:off x="2388175" y="3342597"/>
            <a:ext cx="521575" cy="691464"/>
            <a:chOff x="562725" y="2632126"/>
            <a:chExt cx="415603" cy="550977"/>
          </a:xfrm>
        </p:grpSpPr>
        <p:grpSp>
          <p:nvGrpSpPr>
            <p:cNvPr id="75" name="Group 55"/>
            <p:cNvGrpSpPr/>
            <p:nvPr/>
          </p:nvGrpSpPr>
          <p:grpSpPr>
            <a:xfrm>
              <a:off x="562725" y="2632126"/>
              <a:ext cx="415603" cy="550977"/>
              <a:chOff x="11094627" y="7712630"/>
              <a:chExt cx="769770" cy="1020508"/>
            </a:xfrm>
          </p:grpSpPr>
          <p:sp>
            <p:nvSpPr>
              <p:cNvPr id="77" name="Rounded Rectangle 57"/>
              <p:cNvSpPr/>
              <p:nvPr/>
            </p:nvSpPr>
            <p:spPr>
              <a:xfrm>
                <a:off x="11094627" y="7712630"/>
                <a:ext cx="769770" cy="1020508"/>
              </a:xfrm>
              <a:prstGeom prst="roundRect">
                <a:avLst>
                  <a:gd name="adj" fmla="val 6802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Rounded Rectangle 339"/>
              <p:cNvSpPr/>
              <p:nvPr/>
            </p:nvSpPr>
            <p:spPr>
              <a:xfrm>
                <a:off x="11094628" y="7712630"/>
                <a:ext cx="697987" cy="1020508"/>
              </a:xfrm>
              <a:custGeom>
                <a:avLst/>
                <a:gdLst/>
                <a:ahLst/>
                <a:cxnLst/>
                <a:rect l="l" t="t" r="r" b="b"/>
                <a:pathLst>
                  <a:path w="697987" h="1020508">
                    <a:moveTo>
                      <a:pt x="52360" y="0"/>
                    </a:moveTo>
                    <a:lnTo>
                      <a:pt x="697987" y="0"/>
                    </a:lnTo>
                    <a:lnTo>
                      <a:pt x="57082" y="1020508"/>
                    </a:lnTo>
                    <a:lnTo>
                      <a:pt x="52360" y="1020508"/>
                    </a:lnTo>
                    <a:cubicBezTo>
                      <a:pt x="23442" y="1020508"/>
                      <a:pt x="0" y="997066"/>
                      <a:pt x="0" y="968148"/>
                    </a:cubicBezTo>
                    <a:lnTo>
                      <a:pt x="0" y="52360"/>
                    </a:lnTo>
                    <a:cubicBezTo>
                      <a:pt x="0" y="23442"/>
                      <a:pt x="23442" y="0"/>
                      <a:pt x="52360" y="0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Rectangle 59"/>
              <p:cNvSpPr/>
              <p:nvPr/>
            </p:nvSpPr>
            <p:spPr>
              <a:xfrm>
                <a:off x="11155667" y="7794919"/>
                <a:ext cx="647688" cy="855931"/>
              </a:xfrm>
              <a:prstGeom prst="rect">
                <a:avLst/>
              </a:prstGeom>
              <a:solidFill>
                <a:srgbClr val="002F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Oval 60"/>
              <p:cNvSpPr/>
              <p:nvPr/>
            </p:nvSpPr>
            <p:spPr>
              <a:xfrm>
                <a:off x="11455814" y="8667846"/>
                <a:ext cx="47397" cy="4739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61"/>
              <p:cNvSpPr/>
              <p:nvPr/>
            </p:nvSpPr>
            <p:spPr>
              <a:xfrm>
                <a:off x="11467682" y="7738694"/>
                <a:ext cx="23660" cy="2366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351" dirty="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6" name="Picture 2" descr="See the source imag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526" y="2751878"/>
              <a:ext cx="298000" cy="29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8" name="Group 157"/>
          <p:cNvGrpSpPr/>
          <p:nvPr/>
        </p:nvGrpSpPr>
        <p:grpSpPr>
          <a:xfrm>
            <a:off x="4014805" y="3403326"/>
            <a:ext cx="902867" cy="730353"/>
            <a:chOff x="3202443" y="3126464"/>
            <a:chExt cx="907817" cy="734358"/>
          </a:xfrm>
        </p:grpSpPr>
        <p:grpSp>
          <p:nvGrpSpPr>
            <p:cNvPr id="89" name="Group 166"/>
            <p:cNvGrpSpPr/>
            <p:nvPr/>
          </p:nvGrpSpPr>
          <p:grpSpPr>
            <a:xfrm>
              <a:off x="3252506" y="3126464"/>
              <a:ext cx="857754" cy="734358"/>
              <a:chOff x="3358355" y="2644856"/>
              <a:chExt cx="857754" cy="734358"/>
            </a:xfrm>
          </p:grpSpPr>
          <p:grpSp>
            <p:nvGrpSpPr>
              <p:cNvPr id="98" name="Group 177"/>
              <p:cNvGrpSpPr/>
              <p:nvPr/>
            </p:nvGrpSpPr>
            <p:grpSpPr>
              <a:xfrm>
                <a:off x="3358355" y="2644856"/>
                <a:ext cx="857754" cy="734358"/>
                <a:chOff x="1247636" y="1298537"/>
                <a:chExt cx="1588713" cy="1360160"/>
              </a:xfrm>
            </p:grpSpPr>
            <p:sp>
              <p:nvSpPr>
                <p:cNvPr id="100" name="Rounded Rectangle 76"/>
                <p:cNvSpPr/>
                <p:nvPr/>
              </p:nvSpPr>
              <p:spPr>
                <a:xfrm>
                  <a:off x="1288232" y="1354245"/>
                  <a:ext cx="1493122" cy="7938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01058" h="1855693">
                      <a:moveTo>
                        <a:pt x="0" y="0"/>
                      </a:moveTo>
                      <a:lnTo>
                        <a:pt x="3501058" y="0"/>
                      </a:lnTo>
                      <a:lnTo>
                        <a:pt x="3501058" y="1855693"/>
                      </a:lnTo>
                      <a:lnTo>
                        <a:pt x="0" y="1855693"/>
                      </a:lnTo>
                      <a:close/>
                    </a:path>
                  </a:pathLst>
                </a:custGeom>
                <a:solidFill>
                  <a:srgbClr val="00C9D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Rounded Rectangle 73"/>
                <p:cNvSpPr/>
                <p:nvPr/>
              </p:nvSpPr>
              <p:spPr>
                <a:xfrm>
                  <a:off x="1247636" y="2206203"/>
                  <a:ext cx="158484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514472">
                      <a:moveTo>
                        <a:pt x="0" y="0"/>
                      </a:moveTo>
                      <a:lnTo>
                        <a:pt x="3762375" y="0"/>
                      </a:lnTo>
                      <a:lnTo>
                        <a:pt x="3762375" y="337208"/>
                      </a:lnTo>
                      <a:cubicBezTo>
                        <a:pt x="3762375" y="435108"/>
                        <a:pt x="3683011" y="514472"/>
                        <a:pt x="3585111" y="514472"/>
                      </a:cubicBezTo>
                      <a:lnTo>
                        <a:pt x="177264" y="514472"/>
                      </a:lnTo>
                      <a:cubicBezTo>
                        <a:pt x="79364" y="514472"/>
                        <a:pt x="0" y="435108"/>
                        <a:pt x="0" y="3372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Rounded Rectangle 47"/>
                <p:cNvSpPr/>
                <p:nvPr/>
              </p:nvSpPr>
              <p:spPr>
                <a:xfrm>
                  <a:off x="1247636" y="1298537"/>
                  <a:ext cx="1584849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2154766">
                      <a:moveTo>
                        <a:pt x="130658" y="146716"/>
                      </a:moveTo>
                      <a:lnTo>
                        <a:pt x="130658" y="2002409"/>
                      </a:lnTo>
                      <a:lnTo>
                        <a:pt x="3631716" y="2002409"/>
                      </a:lnTo>
                      <a:lnTo>
                        <a:pt x="3631716" y="146716"/>
                      </a:lnTo>
                      <a:close/>
                      <a:moveTo>
                        <a:pt x="177264" y="0"/>
                      </a:moveTo>
                      <a:lnTo>
                        <a:pt x="3585111" y="0"/>
                      </a:lnTo>
                      <a:cubicBezTo>
                        <a:pt x="3683011" y="0"/>
                        <a:pt x="3762375" y="79364"/>
                        <a:pt x="3762375" y="177264"/>
                      </a:cubicBezTo>
                      <a:lnTo>
                        <a:pt x="3762375" y="2154766"/>
                      </a:lnTo>
                      <a:lnTo>
                        <a:pt x="0" y="2154766"/>
                      </a:lnTo>
                      <a:lnTo>
                        <a:pt x="0" y="177264"/>
                      </a:lnTo>
                      <a:cubicBezTo>
                        <a:pt x="0" y="79364"/>
                        <a:pt x="79364" y="0"/>
                        <a:pt x="17726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3" name="Trapezoid 182"/>
                <p:cNvSpPr/>
                <p:nvPr/>
              </p:nvSpPr>
              <p:spPr>
                <a:xfrm>
                  <a:off x="1828684" y="2422918"/>
                  <a:ext cx="422753" cy="181261"/>
                </a:xfrm>
                <a:prstGeom prst="trapezoid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Rectangle 183"/>
                <p:cNvSpPr/>
                <p:nvPr/>
              </p:nvSpPr>
              <p:spPr>
                <a:xfrm>
                  <a:off x="1700197" y="2604178"/>
                  <a:ext cx="679727" cy="545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Trapezoid 85"/>
                <p:cNvSpPr/>
                <p:nvPr/>
              </p:nvSpPr>
              <p:spPr>
                <a:xfrm>
                  <a:off x="1869912" y="2422918"/>
                  <a:ext cx="340296" cy="16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850" h="38802">
                      <a:moveTo>
                        <a:pt x="9701" y="0"/>
                      </a:moveTo>
                      <a:lnTo>
                        <a:pt x="798149" y="0"/>
                      </a:lnTo>
                      <a:lnTo>
                        <a:pt x="807850" y="38802"/>
                      </a:lnTo>
                      <a:lnTo>
                        <a:pt x="0" y="38802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6" name="Oval 185"/>
                <p:cNvSpPr/>
                <p:nvPr/>
              </p:nvSpPr>
              <p:spPr>
                <a:xfrm>
                  <a:off x="2011377" y="2285877"/>
                  <a:ext cx="57366" cy="5736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7" name="Rounded Rectangle 76"/>
                <p:cNvSpPr/>
                <p:nvPr/>
              </p:nvSpPr>
              <p:spPr>
                <a:xfrm>
                  <a:off x="1297291" y="1361279"/>
                  <a:ext cx="758692" cy="7816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692" h="781686">
                      <a:moveTo>
                        <a:pt x="0" y="0"/>
                      </a:moveTo>
                      <a:lnTo>
                        <a:pt x="758692" y="0"/>
                      </a:lnTo>
                      <a:lnTo>
                        <a:pt x="265905" y="781686"/>
                      </a:lnTo>
                      <a:lnTo>
                        <a:pt x="0" y="781686"/>
                      </a:lnTo>
                      <a:close/>
                    </a:path>
                  </a:pathLst>
                </a:custGeom>
                <a:solidFill>
                  <a:srgbClr val="00DF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8" name="Rounded Rectangle 47"/>
                <p:cNvSpPr/>
                <p:nvPr/>
              </p:nvSpPr>
              <p:spPr>
                <a:xfrm>
                  <a:off x="1249957" y="1298537"/>
                  <a:ext cx="848642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642" h="907666">
                      <a:moveTo>
                        <a:pt x="74670" y="0"/>
                      </a:moveTo>
                      <a:lnTo>
                        <a:pt x="848642" y="0"/>
                      </a:lnTo>
                      <a:lnTo>
                        <a:pt x="809681" y="61802"/>
                      </a:lnTo>
                      <a:lnTo>
                        <a:pt x="55038" y="61802"/>
                      </a:lnTo>
                      <a:lnTo>
                        <a:pt x="55038" y="843488"/>
                      </a:lnTo>
                      <a:lnTo>
                        <a:pt x="316895" y="843488"/>
                      </a:lnTo>
                      <a:lnTo>
                        <a:pt x="280669" y="900952"/>
                      </a:lnTo>
                      <a:lnTo>
                        <a:pt x="291319" y="907666"/>
                      </a:lnTo>
                      <a:lnTo>
                        <a:pt x="0" y="907666"/>
                      </a:lnTo>
                      <a:lnTo>
                        <a:pt x="0" y="74670"/>
                      </a:lnTo>
                      <a:cubicBezTo>
                        <a:pt x="0" y="33431"/>
                        <a:pt x="33431" y="0"/>
                        <a:pt x="7467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9" name="Rounded Rectangle 73"/>
                <p:cNvSpPr/>
                <p:nvPr/>
              </p:nvSpPr>
              <p:spPr>
                <a:xfrm>
                  <a:off x="1390550" y="2206203"/>
                  <a:ext cx="144579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5799" h="216714">
                      <a:moveTo>
                        <a:pt x="136620" y="0"/>
                      </a:moveTo>
                      <a:lnTo>
                        <a:pt x="1445799" y="0"/>
                      </a:lnTo>
                      <a:lnTo>
                        <a:pt x="1445799" y="142044"/>
                      </a:lnTo>
                      <a:cubicBezTo>
                        <a:pt x="1445799" y="183283"/>
                        <a:pt x="1412368" y="216714"/>
                        <a:pt x="1371129" y="216714"/>
                      </a:cubicBezTo>
                      <a:lnTo>
                        <a:pt x="0" y="21671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0" name="Oval 189"/>
                <p:cNvSpPr/>
                <p:nvPr/>
              </p:nvSpPr>
              <p:spPr>
                <a:xfrm>
                  <a:off x="2019132" y="2291700"/>
                  <a:ext cx="45720" cy="4572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99" name="TextBox 178"/>
              <p:cNvSpPr txBox="1"/>
              <p:nvPr/>
            </p:nvSpPr>
            <p:spPr>
              <a:xfrm>
                <a:off x="3399440" y="2689832"/>
                <a:ext cx="786978" cy="399910"/>
              </a:xfrm>
              <a:prstGeom prst="rect">
                <a:avLst/>
              </a:prstGeom>
              <a:solidFill>
                <a:srgbClr val="009999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AU" sz="1351" b="1" dirty="0">
                    <a:solidFill>
                      <a:prstClr val="white"/>
                    </a:solidFill>
                  </a:rPr>
                  <a:t>RAM</a:t>
                </a:r>
              </a:p>
            </p:txBody>
          </p:sp>
        </p:grpSp>
        <p:grpSp>
          <p:nvGrpSpPr>
            <p:cNvPr id="90" name="Group 169"/>
            <p:cNvGrpSpPr/>
            <p:nvPr/>
          </p:nvGrpSpPr>
          <p:grpSpPr>
            <a:xfrm>
              <a:off x="3202443" y="3338247"/>
              <a:ext cx="255370" cy="338551"/>
              <a:chOff x="562725" y="2632126"/>
              <a:chExt cx="415603" cy="550977"/>
            </a:xfrm>
          </p:grpSpPr>
          <p:grpSp>
            <p:nvGrpSpPr>
              <p:cNvPr id="91" name="Group 170"/>
              <p:cNvGrpSpPr/>
              <p:nvPr/>
            </p:nvGrpSpPr>
            <p:grpSpPr>
              <a:xfrm>
                <a:off x="562725" y="2632126"/>
                <a:ext cx="415603" cy="550977"/>
                <a:chOff x="11094627" y="7712630"/>
                <a:chExt cx="769770" cy="1020508"/>
              </a:xfrm>
            </p:grpSpPr>
            <p:sp>
              <p:nvSpPr>
                <p:cNvPr id="93" name="Rounded Rectangle 172"/>
                <p:cNvSpPr/>
                <p:nvPr/>
              </p:nvSpPr>
              <p:spPr>
                <a:xfrm>
                  <a:off x="11094627" y="7712630"/>
                  <a:ext cx="769770" cy="1020508"/>
                </a:xfrm>
                <a:prstGeom prst="roundRect">
                  <a:avLst>
                    <a:gd name="adj" fmla="val 680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Rounded Rectangle 339"/>
                <p:cNvSpPr/>
                <p:nvPr/>
              </p:nvSpPr>
              <p:spPr>
                <a:xfrm>
                  <a:off x="11094628" y="7712630"/>
                  <a:ext cx="697987" cy="102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7987" h="1020508">
                      <a:moveTo>
                        <a:pt x="52360" y="0"/>
                      </a:moveTo>
                      <a:lnTo>
                        <a:pt x="697987" y="0"/>
                      </a:lnTo>
                      <a:lnTo>
                        <a:pt x="57082" y="1020508"/>
                      </a:lnTo>
                      <a:lnTo>
                        <a:pt x="52360" y="1020508"/>
                      </a:lnTo>
                      <a:cubicBezTo>
                        <a:pt x="23442" y="1020508"/>
                        <a:pt x="0" y="997066"/>
                        <a:pt x="0" y="968148"/>
                      </a:cubicBezTo>
                      <a:lnTo>
                        <a:pt x="0" y="52360"/>
                      </a:lnTo>
                      <a:cubicBezTo>
                        <a:pt x="0" y="23442"/>
                        <a:pt x="23442" y="0"/>
                        <a:pt x="5236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Rectangle 174"/>
                <p:cNvSpPr/>
                <p:nvPr/>
              </p:nvSpPr>
              <p:spPr>
                <a:xfrm>
                  <a:off x="11155667" y="7794919"/>
                  <a:ext cx="647688" cy="855931"/>
                </a:xfrm>
                <a:prstGeom prst="rect">
                  <a:avLst/>
                </a:prstGeom>
                <a:solidFill>
                  <a:srgbClr val="002F2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6" name="Oval 175"/>
                <p:cNvSpPr/>
                <p:nvPr/>
              </p:nvSpPr>
              <p:spPr>
                <a:xfrm>
                  <a:off x="11455814" y="8667846"/>
                  <a:ext cx="47397" cy="4739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Oval 176"/>
                <p:cNvSpPr/>
                <p:nvPr/>
              </p:nvSpPr>
              <p:spPr>
                <a:xfrm>
                  <a:off x="11467682" y="7738694"/>
                  <a:ext cx="23660" cy="2366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92" name="Picture 2" descr="See the source image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526" y="2751878"/>
                <a:ext cx="298000" cy="29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16" name="Group 284"/>
          <p:cNvGrpSpPr/>
          <p:nvPr/>
        </p:nvGrpSpPr>
        <p:grpSpPr>
          <a:xfrm>
            <a:off x="2095424" y="1125193"/>
            <a:ext cx="860705" cy="680672"/>
            <a:chOff x="3202443" y="3126464"/>
            <a:chExt cx="907817" cy="734358"/>
          </a:xfrm>
        </p:grpSpPr>
        <p:grpSp>
          <p:nvGrpSpPr>
            <p:cNvPr id="117" name="Group 285"/>
            <p:cNvGrpSpPr/>
            <p:nvPr/>
          </p:nvGrpSpPr>
          <p:grpSpPr>
            <a:xfrm>
              <a:off x="3252506" y="3126464"/>
              <a:ext cx="857754" cy="734358"/>
              <a:chOff x="3358355" y="2644856"/>
              <a:chExt cx="857754" cy="734358"/>
            </a:xfrm>
          </p:grpSpPr>
          <p:grpSp>
            <p:nvGrpSpPr>
              <p:cNvPr id="126" name="Group 294"/>
              <p:cNvGrpSpPr/>
              <p:nvPr/>
            </p:nvGrpSpPr>
            <p:grpSpPr>
              <a:xfrm>
                <a:off x="3358355" y="2644856"/>
                <a:ext cx="857754" cy="734358"/>
                <a:chOff x="1247636" y="1298537"/>
                <a:chExt cx="1588713" cy="1360160"/>
              </a:xfrm>
            </p:grpSpPr>
            <p:sp>
              <p:nvSpPr>
                <p:cNvPr id="128" name="Rounded Rectangle 76"/>
                <p:cNvSpPr/>
                <p:nvPr/>
              </p:nvSpPr>
              <p:spPr>
                <a:xfrm>
                  <a:off x="1288232" y="1354245"/>
                  <a:ext cx="1493122" cy="7938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01058" h="1855693">
                      <a:moveTo>
                        <a:pt x="0" y="0"/>
                      </a:moveTo>
                      <a:lnTo>
                        <a:pt x="3501058" y="0"/>
                      </a:lnTo>
                      <a:lnTo>
                        <a:pt x="3501058" y="1855693"/>
                      </a:lnTo>
                      <a:lnTo>
                        <a:pt x="0" y="1855693"/>
                      </a:lnTo>
                      <a:close/>
                    </a:path>
                  </a:pathLst>
                </a:custGeom>
                <a:solidFill>
                  <a:srgbClr val="00C9D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9" name="Rounded Rectangle 73"/>
                <p:cNvSpPr/>
                <p:nvPr/>
              </p:nvSpPr>
              <p:spPr>
                <a:xfrm>
                  <a:off x="1247636" y="2206203"/>
                  <a:ext cx="158484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514472">
                      <a:moveTo>
                        <a:pt x="0" y="0"/>
                      </a:moveTo>
                      <a:lnTo>
                        <a:pt x="3762375" y="0"/>
                      </a:lnTo>
                      <a:lnTo>
                        <a:pt x="3762375" y="337208"/>
                      </a:lnTo>
                      <a:cubicBezTo>
                        <a:pt x="3762375" y="435108"/>
                        <a:pt x="3683011" y="514472"/>
                        <a:pt x="3585111" y="514472"/>
                      </a:cubicBezTo>
                      <a:lnTo>
                        <a:pt x="177264" y="514472"/>
                      </a:lnTo>
                      <a:cubicBezTo>
                        <a:pt x="79364" y="514472"/>
                        <a:pt x="0" y="435108"/>
                        <a:pt x="0" y="3372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0" name="Rounded Rectangle 47"/>
                <p:cNvSpPr/>
                <p:nvPr/>
              </p:nvSpPr>
              <p:spPr>
                <a:xfrm>
                  <a:off x="1247636" y="1298537"/>
                  <a:ext cx="1584849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2154766">
                      <a:moveTo>
                        <a:pt x="130658" y="146716"/>
                      </a:moveTo>
                      <a:lnTo>
                        <a:pt x="130658" y="2002409"/>
                      </a:lnTo>
                      <a:lnTo>
                        <a:pt x="3631716" y="2002409"/>
                      </a:lnTo>
                      <a:lnTo>
                        <a:pt x="3631716" y="146716"/>
                      </a:lnTo>
                      <a:close/>
                      <a:moveTo>
                        <a:pt x="177264" y="0"/>
                      </a:moveTo>
                      <a:lnTo>
                        <a:pt x="3585111" y="0"/>
                      </a:lnTo>
                      <a:cubicBezTo>
                        <a:pt x="3683011" y="0"/>
                        <a:pt x="3762375" y="79364"/>
                        <a:pt x="3762375" y="177264"/>
                      </a:cubicBezTo>
                      <a:lnTo>
                        <a:pt x="3762375" y="2154766"/>
                      </a:lnTo>
                      <a:lnTo>
                        <a:pt x="0" y="2154766"/>
                      </a:lnTo>
                      <a:lnTo>
                        <a:pt x="0" y="177264"/>
                      </a:lnTo>
                      <a:cubicBezTo>
                        <a:pt x="0" y="79364"/>
                        <a:pt x="79364" y="0"/>
                        <a:pt x="17726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1" name="Trapezoid 299"/>
                <p:cNvSpPr/>
                <p:nvPr/>
              </p:nvSpPr>
              <p:spPr>
                <a:xfrm>
                  <a:off x="1828684" y="2422918"/>
                  <a:ext cx="422753" cy="181261"/>
                </a:xfrm>
                <a:prstGeom prst="trapezoid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2" name="Rectangle 300"/>
                <p:cNvSpPr/>
                <p:nvPr/>
              </p:nvSpPr>
              <p:spPr>
                <a:xfrm>
                  <a:off x="1700197" y="2604178"/>
                  <a:ext cx="679727" cy="545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3" name="Trapezoid 85"/>
                <p:cNvSpPr/>
                <p:nvPr/>
              </p:nvSpPr>
              <p:spPr>
                <a:xfrm>
                  <a:off x="1869912" y="2422918"/>
                  <a:ext cx="340296" cy="16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850" h="38802">
                      <a:moveTo>
                        <a:pt x="9701" y="0"/>
                      </a:moveTo>
                      <a:lnTo>
                        <a:pt x="798149" y="0"/>
                      </a:lnTo>
                      <a:lnTo>
                        <a:pt x="807850" y="38802"/>
                      </a:lnTo>
                      <a:lnTo>
                        <a:pt x="0" y="38802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4" name="Oval 302"/>
                <p:cNvSpPr/>
                <p:nvPr/>
              </p:nvSpPr>
              <p:spPr>
                <a:xfrm>
                  <a:off x="2011377" y="2285877"/>
                  <a:ext cx="57366" cy="5736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5" name="Rounded Rectangle 76"/>
                <p:cNvSpPr/>
                <p:nvPr/>
              </p:nvSpPr>
              <p:spPr>
                <a:xfrm>
                  <a:off x="1297291" y="1361279"/>
                  <a:ext cx="758692" cy="7816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692" h="781686">
                      <a:moveTo>
                        <a:pt x="0" y="0"/>
                      </a:moveTo>
                      <a:lnTo>
                        <a:pt x="758692" y="0"/>
                      </a:lnTo>
                      <a:lnTo>
                        <a:pt x="265905" y="781686"/>
                      </a:lnTo>
                      <a:lnTo>
                        <a:pt x="0" y="781686"/>
                      </a:lnTo>
                      <a:close/>
                    </a:path>
                  </a:pathLst>
                </a:custGeom>
                <a:solidFill>
                  <a:srgbClr val="00DF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6" name="Rounded Rectangle 47"/>
                <p:cNvSpPr/>
                <p:nvPr/>
              </p:nvSpPr>
              <p:spPr>
                <a:xfrm>
                  <a:off x="1249957" y="1298537"/>
                  <a:ext cx="848642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642" h="907666">
                      <a:moveTo>
                        <a:pt x="74670" y="0"/>
                      </a:moveTo>
                      <a:lnTo>
                        <a:pt x="848642" y="0"/>
                      </a:lnTo>
                      <a:lnTo>
                        <a:pt x="809681" y="61802"/>
                      </a:lnTo>
                      <a:lnTo>
                        <a:pt x="55038" y="61802"/>
                      </a:lnTo>
                      <a:lnTo>
                        <a:pt x="55038" y="843488"/>
                      </a:lnTo>
                      <a:lnTo>
                        <a:pt x="316895" y="843488"/>
                      </a:lnTo>
                      <a:lnTo>
                        <a:pt x="280669" y="900952"/>
                      </a:lnTo>
                      <a:lnTo>
                        <a:pt x="291319" y="907666"/>
                      </a:lnTo>
                      <a:lnTo>
                        <a:pt x="0" y="907666"/>
                      </a:lnTo>
                      <a:lnTo>
                        <a:pt x="0" y="74670"/>
                      </a:lnTo>
                      <a:cubicBezTo>
                        <a:pt x="0" y="33431"/>
                        <a:pt x="33431" y="0"/>
                        <a:pt x="7467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7" name="Rounded Rectangle 73"/>
                <p:cNvSpPr/>
                <p:nvPr/>
              </p:nvSpPr>
              <p:spPr>
                <a:xfrm>
                  <a:off x="1390550" y="2206203"/>
                  <a:ext cx="144579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5799" h="216714">
                      <a:moveTo>
                        <a:pt x="136620" y="0"/>
                      </a:moveTo>
                      <a:lnTo>
                        <a:pt x="1445799" y="0"/>
                      </a:lnTo>
                      <a:lnTo>
                        <a:pt x="1445799" y="142044"/>
                      </a:lnTo>
                      <a:cubicBezTo>
                        <a:pt x="1445799" y="183283"/>
                        <a:pt x="1412368" y="216714"/>
                        <a:pt x="1371129" y="216714"/>
                      </a:cubicBezTo>
                      <a:lnTo>
                        <a:pt x="0" y="21671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8" name="Oval 306"/>
                <p:cNvSpPr/>
                <p:nvPr/>
              </p:nvSpPr>
              <p:spPr>
                <a:xfrm>
                  <a:off x="2019132" y="2291700"/>
                  <a:ext cx="45720" cy="4572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7" name="TextBox 295"/>
              <p:cNvSpPr txBox="1"/>
              <p:nvPr/>
            </p:nvSpPr>
            <p:spPr>
              <a:xfrm>
                <a:off x="3399439" y="2689832"/>
                <a:ext cx="786978" cy="420578"/>
              </a:xfrm>
              <a:prstGeom prst="rect">
                <a:avLst/>
              </a:prstGeom>
              <a:solidFill>
                <a:srgbClr val="009999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AU" sz="1351" b="1" dirty="0">
                    <a:solidFill>
                      <a:prstClr val="white"/>
                    </a:solidFill>
                  </a:rPr>
                  <a:t>RAM</a:t>
                </a:r>
              </a:p>
            </p:txBody>
          </p:sp>
        </p:grpSp>
        <p:grpSp>
          <p:nvGrpSpPr>
            <p:cNvPr id="118" name="Group 286"/>
            <p:cNvGrpSpPr/>
            <p:nvPr/>
          </p:nvGrpSpPr>
          <p:grpSpPr>
            <a:xfrm>
              <a:off x="3202443" y="3338247"/>
              <a:ext cx="255370" cy="338551"/>
              <a:chOff x="562725" y="2632126"/>
              <a:chExt cx="415603" cy="550977"/>
            </a:xfrm>
          </p:grpSpPr>
          <p:grpSp>
            <p:nvGrpSpPr>
              <p:cNvPr id="119" name="Group 287"/>
              <p:cNvGrpSpPr/>
              <p:nvPr/>
            </p:nvGrpSpPr>
            <p:grpSpPr>
              <a:xfrm>
                <a:off x="562725" y="2632126"/>
                <a:ext cx="415603" cy="550977"/>
                <a:chOff x="11094627" y="7712630"/>
                <a:chExt cx="769770" cy="1020508"/>
              </a:xfrm>
            </p:grpSpPr>
            <p:sp>
              <p:nvSpPr>
                <p:cNvPr id="121" name="Rounded Rectangle 289"/>
                <p:cNvSpPr/>
                <p:nvPr/>
              </p:nvSpPr>
              <p:spPr>
                <a:xfrm>
                  <a:off x="11094627" y="7712630"/>
                  <a:ext cx="769770" cy="1020508"/>
                </a:xfrm>
                <a:prstGeom prst="roundRect">
                  <a:avLst>
                    <a:gd name="adj" fmla="val 680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Rounded Rectangle 339"/>
                <p:cNvSpPr/>
                <p:nvPr/>
              </p:nvSpPr>
              <p:spPr>
                <a:xfrm>
                  <a:off x="11094628" y="7712630"/>
                  <a:ext cx="697987" cy="102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7987" h="1020508">
                      <a:moveTo>
                        <a:pt x="52360" y="0"/>
                      </a:moveTo>
                      <a:lnTo>
                        <a:pt x="697987" y="0"/>
                      </a:lnTo>
                      <a:lnTo>
                        <a:pt x="57082" y="1020508"/>
                      </a:lnTo>
                      <a:lnTo>
                        <a:pt x="52360" y="1020508"/>
                      </a:lnTo>
                      <a:cubicBezTo>
                        <a:pt x="23442" y="1020508"/>
                        <a:pt x="0" y="997066"/>
                        <a:pt x="0" y="968148"/>
                      </a:cubicBezTo>
                      <a:lnTo>
                        <a:pt x="0" y="52360"/>
                      </a:lnTo>
                      <a:cubicBezTo>
                        <a:pt x="0" y="23442"/>
                        <a:pt x="23442" y="0"/>
                        <a:pt x="5236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Rectangle 291"/>
                <p:cNvSpPr/>
                <p:nvPr/>
              </p:nvSpPr>
              <p:spPr>
                <a:xfrm>
                  <a:off x="11155667" y="7794919"/>
                  <a:ext cx="647688" cy="855931"/>
                </a:xfrm>
                <a:prstGeom prst="rect">
                  <a:avLst/>
                </a:prstGeom>
                <a:solidFill>
                  <a:srgbClr val="002F2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4" name="Oval 292"/>
                <p:cNvSpPr/>
                <p:nvPr/>
              </p:nvSpPr>
              <p:spPr>
                <a:xfrm>
                  <a:off x="11455814" y="8667846"/>
                  <a:ext cx="47397" cy="4739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5" name="Oval 293"/>
                <p:cNvSpPr/>
                <p:nvPr/>
              </p:nvSpPr>
              <p:spPr>
                <a:xfrm>
                  <a:off x="11467682" y="7738694"/>
                  <a:ext cx="23660" cy="2366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120" name="Picture 2" descr="See the source image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526" y="2751878"/>
                <a:ext cx="298000" cy="29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39" name="Rectangle 138"/>
          <p:cNvSpPr/>
          <p:nvPr/>
        </p:nvSpPr>
        <p:spPr>
          <a:xfrm>
            <a:off x="6753984" y="1879536"/>
            <a:ext cx="1228172" cy="826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Go to DESE </a:t>
            </a:r>
            <a:r>
              <a:rPr lang="en-AU" sz="800" dirty="0" err="1">
                <a:solidFill>
                  <a:srgbClr val="50535A"/>
                </a:solidFill>
              </a:rPr>
              <a:t>eSAM</a:t>
            </a:r>
            <a:r>
              <a:rPr lang="en-AU" sz="800" dirty="0">
                <a:solidFill>
                  <a:srgbClr val="50535A"/>
                </a:solidFill>
              </a:rPr>
              <a:t> </a:t>
            </a:r>
            <a:br>
              <a:rPr lang="en-AU" sz="800" dirty="0">
                <a:solidFill>
                  <a:srgbClr val="50535A"/>
                </a:solidFill>
              </a:rPr>
            </a:br>
            <a:r>
              <a:rPr lang="en-AU" sz="800" dirty="0">
                <a:solidFill>
                  <a:srgbClr val="50535A"/>
                </a:solidFill>
              </a:rPr>
              <a:t>access management.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  <a:p>
            <a:pPr algn="ctr"/>
            <a:r>
              <a:rPr lang="en-AU" sz="800" dirty="0">
                <a:solidFill>
                  <a:srgbClr val="50535A"/>
                </a:solidFill>
              </a:rPr>
              <a:t>Create an invitation </a:t>
            </a:r>
            <a:br>
              <a:rPr lang="en-AU" sz="800" dirty="0">
                <a:solidFill>
                  <a:srgbClr val="50535A"/>
                </a:solidFill>
              </a:rPr>
            </a:br>
            <a:r>
              <a:rPr lang="en-AU" sz="800" dirty="0">
                <a:solidFill>
                  <a:srgbClr val="50535A"/>
                </a:solidFill>
              </a:rPr>
              <a:t>for Chris and assign appropriate access roles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1894860" y="1891134"/>
            <a:ext cx="1294519" cy="826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Log in to RAM using myGovID 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  <a:p>
            <a:pPr algn="ctr"/>
            <a:r>
              <a:rPr lang="en-AU" sz="800" dirty="0">
                <a:solidFill>
                  <a:srgbClr val="50535A"/>
                </a:solidFill>
              </a:rPr>
              <a:t>Select Manage Authorisations and then select the Provider’s ABN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4901925" y="1863531"/>
            <a:ext cx="1396945" cy="7182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Setup the Agency Access and click ‘Custom’ access for DESE then review and submit</a:t>
            </a:r>
          </a:p>
        </p:txBody>
      </p:sp>
      <p:sp>
        <p:nvSpPr>
          <p:cNvPr id="145" name="Oval 144"/>
          <p:cNvSpPr/>
          <p:nvPr/>
        </p:nvSpPr>
        <p:spPr>
          <a:xfrm>
            <a:off x="1803070" y="1035847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A2B427"/>
                </a:solidFill>
              </a:rPr>
              <a:t>1</a:t>
            </a:r>
          </a:p>
        </p:txBody>
      </p:sp>
      <p:sp>
        <p:nvSpPr>
          <p:cNvPr id="334" name="TextBox 333"/>
          <p:cNvSpPr txBox="1"/>
          <p:nvPr/>
        </p:nvSpPr>
        <p:spPr>
          <a:xfrm>
            <a:off x="377111" y="4051067"/>
            <a:ext cx="118931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Chris</a:t>
            </a:r>
          </a:p>
          <a:p>
            <a:pPr algn="ctr"/>
            <a:r>
              <a:rPr lang="en-AU" sz="800" dirty="0">
                <a:solidFill>
                  <a:schemeClr val="bg1"/>
                </a:solidFill>
              </a:rPr>
              <a:t>Provider Employment Consultant</a:t>
            </a:r>
          </a:p>
        </p:txBody>
      </p:sp>
      <p:sp>
        <p:nvSpPr>
          <p:cNvPr id="399" name="TextBox 398"/>
          <p:cNvSpPr txBox="1"/>
          <p:nvPr/>
        </p:nvSpPr>
        <p:spPr>
          <a:xfrm>
            <a:off x="313123" y="1786248"/>
            <a:ext cx="1330873" cy="700220"/>
          </a:xfrm>
          <a:prstGeom prst="rect">
            <a:avLst/>
          </a:prstGeom>
          <a:noFill/>
        </p:spPr>
        <p:txBody>
          <a:bodyPr wrap="square" lIns="68606" tIns="34304" rIns="68606" bIns="34304" rtlCol="0">
            <a:spAutoFit/>
          </a:bodyPr>
          <a:lstStyle/>
          <a:p>
            <a:pPr algn="ctr" defTabSz="400857"/>
            <a:r>
              <a:rPr lang="en-AU" sz="900" b="1" dirty="0">
                <a:solidFill>
                  <a:schemeClr val="bg1"/>
                </a:solidFill>
              </a:rPr>
              <a:t>Joe</a:t>
            </a:r>
          </a:p>
          <a:p>
            <a:pPr algn="ctr" defTabSz="400857"/>
            <a:r>
              <a:rPr lang="en-AU" sz="800" i="1" dirty="0">
                <a:solidFill>
                  <a:schemeClr val="bg1"/>
                </a:solidFill>
              </a:rPr>
              <a:t>Authorisation Administrator </a:t>
            </a:r>
            <a:r>
              <a:rPr lang="en-AU" sz="800" dirty="0">
                <a:solidFill>
                  <a:schemeClr val="bg1"/>
                </a:solidFill>
              </a:rPr>
              <a:t>or </a:t>
            </a:r>
            <a:r>
              <a:rPr lang="en-AU" sz="800" i="1" dirty="0">
                <a:solidFill>
                  <a:schemeClr val="bg1"/>
                </a:solidFill>
              </a:rPr>
              <a:t>Organisational Security Contact </a:t>
            </a:r>
            <a:r>
              <a:rPr lang="en-AU" sz="800" dirty="0">
                <a:solidFill>
                  <a:schemeClr val="bg1"/>
                </a:solidFill>
              </a:rPr>
              <a:t>for the </a:t>
            </a:r>
            <a:br>
              <a:rPr lang="en-AU" sz="800" dirty="0">
                <a:solidFill>
                  <a:schemeClr val="bg1"/>
                </a:solidFill>
              </a:rPr>
            </a:br>
            <a:r>
              <a:rPr lang="en-AU" sz="800" dirty="0">
                <a:solidFill>
                  <a:schemeClr val="bg1"/>
                </a:solidFill>
              </a:rPr>
              <a:t>Provider</a:t>
            </a: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32A146CC-D72A-4118-AD82-8645C712124D}"/>
              </a:ext>
            </a:extLst>
          </p:cNvPr>
          <p:cNvSpPr/>
          <p:nvPr/>
        </p:nvSpPr>
        <p:spPr>
          <a:xfrm>
            <a:off x="2003329" y="4242575"/>
            <a:ext cx="1415702" cy="782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Setup myGovID by entering personal details and prove identity up to ‘Standard’ strength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C740F942-D64B-4849-B3B4-43A5D4114074}"/>
              </a:ext>
            </a:extLst>
          </p:cNvPr>
          <p:cNvSpPr txBox="1"/>
          <p:nvPr/>
        </p:nvSpPr>
        <p:spPr>
          <a:xfrm>
            <a:off x="1833155" y="3016512"/>
            <a:ext cx="1607513" cy="23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1" b="1" dirty="0">
                <a:solidFill>
                  <a:srgbClr val="F48072"/>
                </a:solidFill>
              </a:rPr>
              <a:t>Set up myGovID (5 mins)</a:t>
            </a:r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6B79510E-94E8-4D70-9CAA-E7AE044F7339}"/>
              </a:ext>
            </a:extLst>
          </p:cNvPr>
          <p:cNvSpPr txBox="1"/>
          <p:nvPr/>
        </p:nvSpPr>
        <p:spPr>
          <a:xfrm>
            <a:off x="6645396" y="782741"/>
            <a:ext cx="1515025" cy="23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1" b="1" dirty="0">
                <a:solidFill>
                  <a:srgbClr val="A2B427"/>
                </a:solidFill>
              </a:rPr>
              <a:t>Customise access (5 mins)</a:t>
            </a:r>
          </a:p>
        </p:txBody>
      </p:sp>
      <p:grpSp>
        <p:nvGrpSpPr>
          <p:cNvPr id="408" name="Group 157">
            <a:extLst>
              <a:ext uri="{FF2B5EF4-FFF2-40B4-BE49-F238E27FC236}">
                <a16:creationId xmlns:a16="http://schemas.microsoft.com/office/drawing/2014/main" id="{F744F384-5474-48DA-B2BB-BB70AB439CED}"/>
              </a:ext>
            </a:extLst>
          </p:cNvPr>
          <p:cNvGrpSpPr/>
          <p:nvPr/>
        </p:nvGrpSpPr>
        <p:grpSpPr>
          <a:xfrm>
            <a:off x="6892423" y="3408594"/>
            <a:ext cx="886922" cy="659986"/>
            <a:chOff x="3151425" y="3096704"/>
            <a:chExt cx="1026857" cy="764118"/>
          </a:xfrm>
        </p:grpSpPr>
        <p:grpSp>
          <p:nvGrpSpPr>
            <p:cNvPr id="409" name="Group 166">
              <a:extLst>
                <a:ext uri="{FF2B5EF4-FFF2-40B4-BE49-F238E27FC236}">
                  <a16:creationId xmlns:a16="http://schemas.microsoft.com/office/drawing/2014/main" id="{15E5544E-D6F3-4BB3-86D5-9F3AED70CB4A}"/>
                </a:ext>
              </a:extLst>
            </p:cNvPr>
            <p:cNvGrpSpPr/>
            <p:nvPr/>
          </p:nvGrpSpPr>
          <p:grpSpPr>
            <a:xfrm>
              <a:off x="3151425" y="3096704"/>
              <a:ext cx="1026857" cy="764118"/>
              <a:chOff x="3257274" y="2615096"/>
              <a:chExt cx="1026857" cy="764118"/>
            </a:xfrm>
          </p:grpSpPr>
          <p:grpSp>
            <p:nvGrpSpPr>
              <p:cNvPr id="418" name="Group 177">
                <a:extLst>
                  <a:ext uri="{FF2B5EF4-FFF2-40B4-BE49-F238E27FC236}">
                    <a16:creationId xmlns:a16="http://schemas.microsoft.com/office/drawing/2014/main" id="{57EC56CB-08B6-49A9-90BB-B59F11A355DD}"/>
                  </a:ext>
                </a:extLst>
              </p:cNvPr>
              <p:cNvGrpSpPr/>
              <p:nvPr/>
            </p:nvGrpSpPr>
            <p:grpSpPr>
              <a:xfrm>
                <a:off x="3358355" y="2644856"/>
                <a:ext cx="857754" cy="734358"/>
                <a:chOff x="1247636" y="1298537"/>
                <a:chExt cx="1588713" cy="1360160"/>
              </a:xfrm>
            </p:grpSpPr>
            <p:sp>
              <p:nvSpPr>
                <p:cNvPr id="420" name="Rounded Rectangle 76">
                  <a:extLst>
                    <a:ext uri="{FF2B5EF4-FFF2-40B4-BE49-F238E27FC236}">
                      <a16:creationId xmlns:a16="http://schemas.microsoft.com/office/drawing/2014/main" id="{50B28ABB-F5F3-4204-94F4-501E33E78714}"/>
                    </a:ext>
                  </a:extLst>
                </p:cNvPr>
                <p:cNvSpPr/>
                <p:nvPr/>
              </p:nvSpPr>
              <p:spPr>
                <a:xfrm>
                  <a:off x="1264816" y="1369104"/>
                  <a:ext cx="1493123" cy="7938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01058" h="1855693">
                      <a:moveTo>
                        <a:pt x="0" y="0"/>
                      </a:moveTo>
                      <a:lnTo>
                        <a:pt x="3501058" y="0"/>
                      </a:lnTo>
                      <a:lnTo>
                        <a:pt x="3501058" y="1855693"/>
                      </a:lnTo>
                      <a:lnTo>
                        <a:pt x="0" y="1855693"/>
                      </a:lnTo>
                      <a:close/>
                    </a:path>
                  </a:pathLst>
                </a:custGeom>
                <a:solidFill>
                  <a:srgbClr val="00C9D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1" name="Rounded Rectangle 73">
                  <a:extLst>
                    <a:ext uri="{FF2B5EF4-FFF2-40B4-BE49-F238E27FC236}">
                      <a16:creationId xmlns:a16="http://schemas.microsoft.com/office/drawing/2014/main" id="{523D1C95-B64C-459C-A219-000D95D913C7}"/>
                    </a:ext>
                  </a:extLst>
                </p:cNvPr>
                <p:cNvSpPr/>
                <p:nvPr/>
              </p:nvSpPr>
              <p:spPr>
                <a:xfrm>
                  <a:off x="1247636" y="2206203"/>
                  <a:ext cx="158484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514472">
                      <a:moveTo>
                        <a:pt x="0" y="0"/>
                      </a:moveTo>
                      <a:lnTo>
                        <a:pt x="3762375" y="0"/>
                      </a:lnTo>
                      <a:lnTo>
                        <a:pt x="3762375" y="337208"/>
                      </a:lnTo>
                      <a:cubicBezTo>
                        <a:pt x="3762375" y="435108"/>
                        <a:pt x="3683011" y="514472"/>
                        <a:pt x="3585111" y="514472"/>
                      </a:cubicBezTo>
                      <a:lnTo>
                        <a:pt x="177264" y="514472"/>
                      </a:lnTo>
                      <a:cubicBezTo>
                        <a:pt x="79364" y="514472"/>
                        <a:pt x="0" y="435108"/>
                        <a:pt x="0" y="3372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2" name="Rounded Rectangle 47">
                  <a:extLst>
                    <a:ext uri="{FF2B5EF4-FFF2-40B4-BE49-F238E27FC236}">
                      <a16:creationId xmlns:a16="http://schemas.microsoft.com/office/drawing/2014/main" id="{52C916FC-10FD-418F-BC84-0702223DE4D7}"/>
                    </a:ext>
                  </a:extLst>
                </p:cNvPr>
                <p:cNvSpPr/>
                <p:nvPr/>
              </p:nvSpPr>
              <p:spPr>
                <a:xfrm>
                  <a:off x="1247636" y="1298537"/>
                  <a:ext cx="1584849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2154766">
                      <a:moveTo>
                        <a:pt x="130658" y="146716"/>
                      </a:moveTo>
                      <a:lnTo>
                        <a:pt x="130658" y="2002409"/>
                      </a:lnTo>
                      <a:lnTo>
                        <a:pt x="3631716" y="2002409"/>
                      </a:lnTo>
                      <a:lnTo>
                        <a:pt x="3631716" y="146716"/>
                      </a:lnTo>
                      <a:close/>
                      <a:moveTo>
                        <a:pt x="177264" y="0"/>
                      </a:moveTo>
                      <a:lnTo>
                        <a:pt x="3585111" y="0"/>
                      </a:lnTo>
                      <a:cubicBezTo>
                        <a:pt x="3683011" y="0"/>
                        <a:pt x="3762375" y="79364"/>
                        <a:pt x="3762375" y="177264"/>
                      </a:cubicBezTo>
                      <a:lnTo>
                        <a:pt x="3762375" y="2154766"/>
                      </a:lnTo>
                      <a:lnTo>
                        <a:pt x="0" y="2154766"/>
                      </a:lnTo>
                      <a:lnTo>
                        <a:pt x="0" y="177264"/>
                      </a:lnTo>
                      <a:cubicBezTo>
                        <a:pt x="0" y="79364"/>
                        <a:pt x="79364" y="0"/>
                        <a:pt x="17726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3" name="Trapezoid 182">
                  <a:extLst>
                    <a:ext uri="{FF2B5EF4-FFF2-40B4-BE49-F238E27FC236}">
                      <a16:creationId xmlns:a16="http://schemas.microsoft.com/office/drawing/2014/main" id="{B57B6F65-8BB5-46C5-B510-9160ED2E3019}"/>
                    </a:ext>
                  </a:extLst>
                </p:cNvPr>
                <p:cNvSpPr/>
                <p:nvPr/>
              </p:nvSpPr>
              <p:spPr>
                <a:xfrm>
                  <a:off x="1828684" y="2422918"/>
                  <a:ext cx="422753" cy="181261"/>
                </a:xfrm>
                <a:prstGeom prst="trapezoid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4" name="Rectangle 183">
                  <a:extLst>
                    <a:ext uri="{FF2B5EF4-FFF2-40B4-BE49-F238E27FC236}">
                      <a16:creationId xmlns:a16="http://schemas.microsoft.com/office/drawing/2014/main" id="{24CFC1ED-EC12-4EF3-BBF2-0A35BAFF9CC7}"/>
                    </a:ext>
                  </a:extLst>
                </p:cNvPr>
                <p:cNvSpPr/>
                <p:nvPr/>
              </p:nvSpPr>
              <p:spPr>
                <a:xfrm>
                  <a:off x="1700197" y="2604178"/>
                  <a:ext cx="679727" cy="545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5" name="Trapezoid 85">
                  <a:extLst>
                    <a:ext uri="{FF2B5EF4-FFF2-40B4-BE49-F238E27FC236}">
                      <a16:creationId xmlns:a16="http://schemas.microsoft.com/office/drawing/2014/main" id="{BC95D0AF-9DE8-4644-BAC5-F41437ACBD4A}"/>
                    </a:ext>
                  </a:extLst>
                </p:cNvPr>
                <p:cNvSpPr/>
                <p:nvPr/>
              </p:nvSpPr>
              <p:spPr>
                <a:xfrm>
                  <a:off x="1869912" y="2422918"/>
                  <a:ext cx="340296" cy="16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850" h="38802">
                      <a:moveTo>
                        <a:pt x="9701" y="0"/>
                      </a:moveTo>
                      <a:lnTo>
                        <a:pt x="798149" y="0"/>
                      </a:lnTo>
                      <a:lnTo>
                        <a:pt x="807850" y="38802"/>
                      </a:lnTo>
                      <a:lnTo>
                        <a:pt x="0" y="38802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6" name="Oval 185">
                  <a:extLst>
                    <a:ext uri="{FF2B5EF4-FFF2-40B4-BE49-F238E27FC236}">
                      <a16:creationId xmlns:a16="http://schemas.microsoft.com/office/drawing/2014/main" id="{1FDBBE60-4898-40EF-A57A-9E7B52C527E8}"/>
                    </a:ext>
                  </a:extLst>
                </p:cNvPr>
                <p:cNvSpPr/>
                <p:nvPr/>
              </p:nvSpPr>
              <p:spPr>
                <a:xfrm>
                  <a:off x="2011377" y="2285877"/>
                  <a:ext cx="57366" cy="5736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7" name="Rounded Rectangle 76">
                  <a:extLst>
                    <a:ext uri="{FF2B5EF4-FFF2-40B4-BE49-F238E27FC236}">
                      <a16:creationId xmlns:a16="http://schemas.microsoft.com/office/drawing/2014/main" id="{853AE719-EB2A-4569-912B-D762A7808DE7}"/>
                    </a:ext>
                  </a:extLst>
                </p:cNvPr>
                <p:cNvSpPr/>
                <p:nvPr/>
              </p:nvSpPr>
              <p:spPr>
                <a:xfrm>
                  <a:off x="1297291" y="1361279"/>
                  <a:ext cx="758692" cy="7816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692" h="781686">
                      <a:moveTo>
                        <a:pt x="0" y="0"/>
                      </a:moveTo>
                      <a:lnTo>
                        <a:pt x="758692" y="0"/>
                      </a:lnTo>
                      <a:lnTo>
                        <a:pt x="265905" y="781686"/>
                      </a:lnTo>
                      <a:lnTo>
                        <a:pt x="0" y="781686"/>
                      </a:lnTo>
                      <a:close/>
                    </a:path>
                  </a:pathLst>
                </a:custGeom>
                <a:solidFill>
                  <a:srgbClr val="00DF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8" name="Rounded Rectangle 47">
                  <a:extLst>
                    <a:ext uri="{FF2B5EF4-FFF2-40B4-BE49-F238E27FC236}">
                      <a16:creationId xmlns:a16="http://schemas.microsoft.com/office/drawing/2014/main" id="{438B7E79-26A9-429B-858B-D7EE311E50C5}"/>
                    </a:ext>
                  </a:extLst>
                </p:cNvPr>
                <p:cNvSpPr/>
                <p:nvPr/>
              </p:nvSpPr>
              <p:spPr>
                <a:xfrm>
                  <a:off x="1249957" y="1298537"/>
                  <a:ext cx="848642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642" h="907666">
                      <a:moveTo>
                        <a:pt x="74670" y="0"/>
                      </a:moveTo>
                      <a:lnTo>
                        <a:pt x="848642" y="0"/>
                      </a:lnTo>
                      <a:lnTo>
                        <a:pt x="809681" y="61802"/>
                      </a:lnTo>
                      <a:lnTo>
                        <a:pt x="55038" y="61802"/>
                      </a:lnTo>
                      <a:lnTo>
                        <a:pt x="55038" y="843488"/>
                      </a:lnTo>
                      <a:lnTo>
                        <a:pt x="316895" y="843488"/>
                      </a:lnTo>
                      <a:lnTo>
                        <a:pt x="280669" y="900952"/>
                      </a:lnTo>
                      <a:lnTo>
                        <a:pt x="291319" y="907666"/>
                      </a:lnTo>
                      <a:lnTo>
                        <a:pt x="0" y="907666"/>
                      </a:lnTo>
                      <a:lnTo>
                        <a:pt x="0" y="74670"/>
                      </a:lnTo>
                      <a:cubicBezTo>
                        <a:pt x="0" y="33431"/>
                        <a:pt x="33431" y="0"/>
                        <a:pt x="7467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9" name="Rounded Rectangle 73">
                  <a:extLst>
                    <a:ext uri="{FF2B5EF4-FFF2-40B4-BE49-F238E27FC236}">
                      <a16:creationId xmlns:a16="http://schemas.microsoft.com/office/drawing/2014/main" id="{504D85EF-4755-4C0D-B095-2B9907CC44CF}"/>
                    </a:ext>
                  </a:extLst>
                </p:cNvPr>
                <p:cNvSpPr/>
                <p:nvPr/>
              </p:nvSpPr>
              <p:spPr>
                <a:xfrm>
                  <a:off x="1390550" y="2206203"/>
                  <a:ext cx="144579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5799" h="216714">
                      <a:moveTo>
                        <a:pt x="136620" y="0"/>
                      </a:moveTo>
                      <a:lnTo>
                        <a:pt x="1445799" y="0"/>
                      </a:lnTo>
                      <a:lnTo>
                        <a:pt x="1445799" y="142044"/>
                      </a:lnTo>
                      <a:cubicBezTo>
                        <a:pt x="1445799" y="183283"/>
                        <a:pt x="1412368" y="216714"/>
                        <a:pt x="1371129" y="216714"/>
                      </a:cubicBezTo>
                      <a:lnTo>
                        <a:pt x="0" y="21671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30" name="Oval 189">
                  <a:extLst>
                    <a:ext uri="{FF2B5EF4-FFF2-40B4-BE49-F238E27FC236}">
                      <a16:creationId xmlns:a16="http://schemas.microsoft.com/office/drawing/2014/main" id="{D895C3DA-040A-4B5A-83B7-07088F317BD1}"/>
                    </a:ext>
                  </a:extLst>
                </p:cNvPr>
                <p:cNvSpPr/>
                <p:nvPr/>
              </p:nvSpPr>
              <p:spPr>
                <a:xfrm>
                  <a:off x="2019132" y="2291700"/>
                  <a:ext cx="45720" cy="4572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419" name="TextBox 178">
                <a:extLst>
                  <a:ext uri="{FF2B5EF4-FFF2-40B4-BE49-F238E27FC236}">
                    <a16:creationId xmlns:a16="http://schemas.microsoft.com/office/drawing/2014/main" id="{4C86CF48-E894-4CA9-9C41-F4EC7B3672A5}"/>
                  </a:ext>
                </a:extLst>
              </p:cNvPr>
              <p:cNvSpPr txBox="1"/>
              <p:nvPr/>
            </p:nvSpPr>
            <p:spPr>
              <a:xfrm>
                <a:off x="3257274" y="2615096"/>
                <a:ext cx="1026857" cy="3484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AU" sz="1100" b="1" dirty="0">
                    <a:solidFill>
                      <a:prstClr val="white"/>
                    </a:solidFill>
                  </a:rPr>
                  <a:t>ESS Web</a:t>
                </a:r>
              </a:p>
            </p:txBody>
          </p:sp>
        </p:grpSp>
        <p:grpSp>
          <p:nvGrpSpPr>
            <p:cNvPr id="410" name="Group 169">
              <a:extLst>
                <a:ext uri="{FF2B5EF4-FFF2-40B4-BE49-F238E27FC236}">
                  <a16:creationId xmlns:a16="http://schemas.microsoft.com/office/drawing/2014/main" id="{9E1D11E0-46F2-44A3-902D-D80F7527DDB4}"/>
                </a:ext>
              </a:extLst>
            </p:cNvPr>
            <p:cNvGrpSpPr/>
            <p:nvPr/>
          </p:nvGrpSpPr>
          <p:grpSpPr>
            <a:xfrm>
              <a:off x="3202443" y="3338247"/>
              <a:ext cx="255370" cy="338551"/>
              <a:chOff x="562725" y="2632126"/>
              <a:chExt cx="415603" cy="550977"/>
            </a:xfrm>
          </p:grpSpPr>
          <p:grpSp>
            <p:nvGrpSpPr>
              <p:cNvPr id="411" name="Group 170">
                <a:extLst>
                  <a:ext uri="{FF2B5EF4-FFF2-40B4-BE49-F238E27FC236}">
                    <a16:creationId xmlns:a16="http://schemas.microsoft.com/office/drawing/2014/main" id="{63CC5759-A55B-46BE-9DAC-87E3788D15BF}"/>
                  </a:ext>
                </a:extLst>
              </p:cNvPr>
              <p:cNvGrpSpPr/>
              <p:nvPr/>
            </p:nvGrpSpPr>
            <p:grpSpPr>
              <a:xfrm>
                <a:off x="562725" y="2632126"/>
                <a:ext cx="415603" cy="550977"/>
                <a:chOff x="11094627" y="7712630"/>
                <a:chExt cx="769770" cy="1020508"/>
              </a:xfrm>
            </p:grpSpPr>
            <p:sp>
              <p:nvSpPr>
                <p:cNvPr id="413" name="Rounded Rectangle 172">
                  <a:extLst>
                    <a:ext uri="{FF2B5EF4-FFF2-40B4-BE49-F238E27FC236}">
                      <a16:creationId xmlns:a16="http://schemas.microsoft.com/office/drawing/2014/main" id="{569B5FA7-D56F-43AD-BD4D-34338A207406}"/>
                    </a:ext>
                  </a:extLst>
                </p:cNvPr>
                <p:cNvSpPr/>
                <p:nvPr/>
              </p:nvSpPr>
              <p:spPr>
                <a:xfrm>
                  <a:off x="11094627" y="7712630"/>
                  <a:ext cx="769770" cy="1020508"/>
                </a:xfrm>
                <a:prstGeom prst="roundRect">
                  <a:avLst>
                    <a:gd name="adj" fmla="val 680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14" name="Rounded Rectangle 339">
                  <a:extLst>
                    <a:ext uri="{FF2B5EF4-FFF2-40B4-BE49-F238E27FC236}">
                      <a16:creationId xmlns:a16="http://schemas.microsoft.com/office/drawing/2014/main" id="{92DC4A6B-E9B4-41F1-8B87-5424D962D26C}"/>
                    </a:ext>
                  </a:extLst>
                </p:cNvPr>
                <p:cNvSpPr/>
                <p:nvPr/>
              </p:nvSpPr>
              <p:spPr>
                <a:xfrm>
                  <a:off x="11094628" y="7712630"/>
                  <a:ext cx="697987" cy="102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7987" h="1020508">
                      <a:moveTo>
                        <a:pt x="52360" y="0"/>
                      </a:moveTo>
                      <a:lnTo>
                        <a:pt x="697987" y="0"/>
                      </a:lnTo>
                      <a:lnTo>
                        <a:pt x="57082" y="1020508"/>
                      </a:lnTo>
                      <a:lnTo>
                        <a:pt x="52360" y="1020508"/>
                      </a:lnTo>
                      <a:cubicBezTo>
                        <a:pt x="23442" y="1020508"/>
                        <a:pt x="0" y="997066"/>
                        <a:pt x="0" y="968148"/>
                      </a:cubicBezTo>
                      <a:lnTo>
                        <a:pt x="0" y="52360"/>
                      </a:lnTo>
                      <a:cubicBezTo>
                        <a:pt x="0" y="23442"/>
                        <a:pt x="23442" y="0"/>
                        <a:pt x="5236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15" name="Rectangle 174">
                  <a:extLst>
                    <a:ext uri="{FF2B5EF4-FFF2-40B4-BE49-F238E27FC236}">
                      <a16:creationId xmlns:a16="http://schemas.microsoft.com/office/drawing/2014/main" id="{605B642B-37DA-4058-833C-B8FB6FD66C8D}"/>
                    </a:ext>
                  </a:extLst>
                </p:cNvPr>
                <p:cNvSpPr/>
                <p:nvPr/>
              </p:nvSpPr>
              <p:spPr>
                <a:xfrm>
                  <a:off x="11155667" y="7794919"/>
                  <a:ext cx="647688" cy="855931"/>
                </a:xfrm>
                <a:prstGeom prst="rect">
                  <a:avLst/>
                </a:prstGeom>
                <a:solidFill>
                  <a:srgbClr val="002F2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16" name="Oval 175">
                  <a:extLst>
                    <a:ext uri="{FF2B5EF4-FFF2-40B4-BE49-F238E27FC236}">
                      <a16:creationId xmlns:a16="http://schemas.microsoft.com/office/drawing/2014/main" id="{40252359-EDE6-45DD-87D4-2D8436CFD4E6}"/>
                    </a:ext>
                  </a:extLst>
                </p:cNvPr>
                <p:cNvSpPr/>
                <p:nvPr/>
              </p:nvSpPr>
              <p:spPr>
                <a:xfrm>
                  <a:off x="11455814" y="8667846"/>
                  <a:ext cx="47397" cy="4739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17" name="Oval 176">
                  <a:extLst>
                    <a:ext uri="{FF2B5EF4-FFF2-40B4-BE49-F238E27FC236}">
                      <a16:creationId xmlns:a16="http://schemas.microsoft.com/office/drawing/2014/main" id="{AD0FC54B-280A-4830-A09B-1F24F0CCDDDA}"/>
                    </a:ext>
                  </a:extLst>
                </p:cNvPr>
                <p:cNvSpPr/>
                <p:nvPr/>
              </p:nvSpPr>
              <p:spPr>
                <a:xfrm>
                  <a:off x="11467682" y="7738694"/>
                  <a:ext cx="23660" cy="2366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412" name="Picture 2" descr="See the source image">
                <a:extLst>
                  <a:ext uri="{FF2B5EF4-FFF2-40B4-BE49-F238E27FC236}">
                    <a16:creationId xmlns:a16="http://schemas.microsoft.com/office/drawing/2014/main" id="{26A3B8E0-EC91-4241-873A-E54DD79A30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526" y="2751878"/>
                <a:ext cx="298000" cy="29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431" name="Group 157">
            <a:extLst>
              <a:ext uri="{FF2B5EF4-FFF2-40B4-BE49-F238E27FC236}">
                <a16:creationId xmlns:a16="http://schemas.microsoft.com/office/drawing/2014/main" id="{4BDC4356-ED01-430E-946E-A172FE19C387}"/>
              </a:ext>
            </a:extLst>
          </p:cNvPr>
          <p:cNvGrpSpPr/>
          <p:nvPr/>
        </p:nvGrpSpPr>
        <p:grpSpPr>
          <a:xfrm>
            <a:off x="5491608" y="3398792"/>
            <a:ext cx="852311" cy="689457"/>
            <a:chOff x="3202443" y="3126464"/>
            <a:chExt cx="907814" cy="734356"/>
          </a:xfrm>
        </p:grpSpPr>
        <p:grpSp>
          <p:nvGrpSpPr>
            <p:cNvPr id="432" name="Group 166">
              <a:extLst>
                <a:ext uri="{FF2B5EF4-FFF2-40B4-BE49-F238E27FC236}">
                  <a16:creationId xmlns:a16="http://schemas.microsoft.com/office/drawing/2014/main" id="{BA39D583-524E-4C9E-84C9-38CEDBC593EC}"/>
                </a:ext>
              </a:extLst>
            </p:cNvPr>
            <p:cNvGrpSpPr/>
            <p:nvPr/>
          </p:nvGrpSpPr>
          <p:grpSpPr>
            <a:xfrm>
              <a:off x="3252506" y="3126464"/>
              <a:ext cx="857751" cy="734356"/>
              <a:chOff x="3358355" y="2644856"/>
              <a:chExt cx="857751" cy="734356"/>
            </a:xfrm>
          </p:grpSpPr>
          <p:grpSp>
            <p:nvGrpSpPr>
              <p:cNvPr id="441" name="Group 177">
                <a:extLst>
                  <a:ext uri="{FF2B5EF4-FFF2-40B4-BE49-F238E27FC236}">
                    <a16:creationId xmlns:a16="http://schemas.microsoft.com/office/drawing/2014/main" id="{9291F7A4-2442-45DA-8FA6-D9EE5A23D25C}"/>
                  </a:ext>
                </a:extLst>
              </p:cNvPr>
              <p:cNvGrpSpPr/>
              <p:nvPr/>
            </p:nvGrpSpPr>
            <p:grpSpPr>
              <a:xfrm>
                <a:off x="3358355" y="2644856"/>
                <a:ext cx="857751" cy="734356"/>
                <a:chOff x="1247636" y="1298537"/>
                <a:chExt cx="1588713" cy="1360160"/>
              </a:xfrm>
            </p:grpSpPr>
            <p:sp>
              <p:nvSpPr>
                <p:cNvPr id="443" name="Rounded Rectangle 76">
                  <a:extLst>
                    <a:ext uri="{FF2B5EF4-FFF2-40B4-BE49-F238E27FC236}">
                      <a16:creationId xmlns:a16="http://schemas.microsoft.com/office/drawing/2014/main" id="{56A15C73-3F2F-4B94-B584-CE903CCEA4B6}"/>
                    </a:ext>
                  </a:extLst>
                </p:cNvPr>
                <p:cNvSpPr/>
                <p:nvPr/>
              </p:nvSpPr>
              <p:spPr>
                <a:xfrm>
                  <a:off x="1259699" y="1393910"/>
                  <a:ext cx="1493123" cy="7938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01058" h="1855693">
                      <a:moveTo>
                        <a:pt x="0" y="0"/>
                      </a:moveTo>
                      <a:lnTo>
                        <a:pt x="3501058" y="0"/>
                      </a:lnTo>
                      <a:lnTo>
                        <a:pt x="3501058" y="1855693"/>
                      </a:lnTo>
                      <a:lnTo>
                        <a:pt x="0" y="1855693"/>
                      </a:lnTo>
                      <a:close/>
                    </a:path>
                  </a:pathLst>
                </a:custGeom>
                <a:solidFill>
                  <a:schemeClr val="bg2">
                    <a:lumMod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4" name="Rounded Rectangle 73">
                  <a:extLst>
                    <a:ext uri="{FF2B5EF4-FFF2-40B4-BE49-F238E27FC236}">
                      <a16:creationId xmlns:a16="http://schemas.microsoft.com/office/drawing/2014/main" id="{3A7A6C21-0DD0-41F0-AB3D-AA810FB8B8A4}"/>
                    </a:ext>
                  </a:extLst>
                </p:cNvPr>
                <p:cNvSpPr/>
                <p:nvPr/>
              </p:nvSpPr>
              <p:spPr>
                <a:xfrm>
                  <a:off x="1247636" y="2206203"/>
                  <a:ext cx="158484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514472">
                      <a:moveTo>
                        <a:pt x="0" y="0"/>
                      </a:moveTo>
                      <a:lnTo>
                        <a:pt x="3762375" y="0"/>
                      </a:lnTo>
                      <a:lnTo>
                        <a:pt x="3762375" y="337208"/>
                      </a:lnTo>
                      <a:cubicBezTo>
                        <a:pt x="3762375" y="435108"/>
                        <a:pt x="3683011" y="514472"/>
                        <a:pt x="3585111" y="514472"/>
                      </a:cubicBezTo>
                      <a:lnTo>
                        <a:pt x="177264" y="514472"/>
                      </a:lnTo>
                      <a:cubicBezTo>
                        <a:pt x="79364" y="514472"/>
                        <a:pt x="0" y="435108"/>
                        <a:pt x="0" y="3372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5" name="Rounded Rectangle 47">
                  <a:extLst>
                    <a:ext uri="{FF2B5EF4-FFF2-40B4-BE49-F238E27FC236}">
                      <a16:creationId xmlns:a16="http://schemas.microsoft.com/office/drawing/2014/main" id="{502BA2BE-2EE8-4278-B26B-F263E593759D}"/>
                    </a:ext>
                  </a:extLst>
                </p:cNvPr>
                <p:cNvSpPr/>
                <p:nvPr/>
              </p:nvSpPr>
              <p:spPr>
                <a:xfrm>
                  <a:off x="1247636" y="1298537"/>
                  <a:ext cx="1584849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2375" h="2154766">
                      <a:moveTo>
                        <a:pt x="130658" y="146716"/>
                      </a:moveTo>
                      <a:lnTo>
                        <a:pt x="130658" y="2002409"/>
                      </a:lnTo>
                      <a:lnTo>
                        <a:pt x="3631716" y="2002409"/>
                      </a:lnTo>
                      <a:lnTo>
                        <a:pt x="3631716" y="146716"/>
                      </a:lnTo>
                      <a:close/>
                      <a:moveTo>
                        <a:pt x="177264" y="0"/>
                      </a:moveTo>
                      <a:lnTo>
                        <a:pt x="3585111" y="0"/>
                      </a:lnTo>
                      <a:cubicBezTo>
                        <a:pt x="3683011" y="0"/>
                        <a:pt x="3762375" y="79364"/>
                        <a:pt x="3762375" y="177264"/>
                      </a:cubicBezTo>
                      <a:lnTo>
                        <a:pt x="3762375" y="2154766"/>
                      </a:lnTo>
                      <a:lnTo>
                        <a:pt x="0" y="2154766"/>
                      </a:lnTo>
                      <a:lnTo>
                        <a:pt x="0" y="177264"/>
                      </a:lnTo>
                      <a:cubicBezTo>
                        <a:pt x="0" y="79364"/>
                        <a:pt x="79364" y="0"/>
                        <a:pt x="17726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6" name="Trapezoid 182">
                  <a:extLst>
                    <a:ext uri="{FF2B5EF4-FFF2-40B4-BE49-F238E27FC236}">
                      <a16:creationId xmlns:a16="http://schemas.microsoft.com/office/drawing/2014/main" id="{4A52022F-FE69-44CB-97A0-1765E4937A0E}"/>
                    </a:ext>
                  </a:extLst>
                </p:cNvPr>
                <p:cNvSpPr/>
                <p:nvPr/>
              </p:nvSpPr>
              <p:spPr>
                <a:xfrm>
                  <a:off x="1828684" y="2422918"/>
                  <a:ext cx="422753" cy="181261"/>
                </a:xfrm>
                <a:prstGeom prst="trapezoid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7" name="Rectangle 183">
                  <a:extLst>
                    <a:ext uri="{FF2B5EF4-FFF2-40B4-BE49-F238E27FC236}">
                      <a16:creationId xmlns:a16="http://schemas.microsoft.com/office/drawing/2014/main" id="{ED0A1141-ED98-47F5-BBD6-4BF9C0E2DEEC}"/>
                    </a:ext>
                  </a:extLst>
                </p:cNvPr>
                <p:cNvSpPr/>
                <p:nvPr/>
              </p:nvSpPr>
              <p:spPr>
                <a:xfrm>
                  <a:off x="1700197" y="2604178"/>
                  <a:ext cx="679727" cy="545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8" name="Trapezoid 85">
                  <a:extLst>
                    <a:ext uri="{FF2B5EF4-FFF2-40B4-BE49-F238E27FC236}">
                      <a16:creationId xmlns:a16="http://schemas.microsoft.com/office/drawing/2014/main" id="{5D8120FE-A040-486A-B607-0CF36E485DD8}"/>
                    </a:ext>
                  </a:extLst>
                </p:cNvPr>
                <p:cNvSpPr/>
                <p:nvPr/>
              </p:nvSpPr>
              <p:spPr>
                <a:xfrm>
                  <a:off x="1869912" y="2422918"/>
                  <a:ext cx="340296" cy="16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850" h="38802">
                      <a:moveTo>
                        <a:pt x="9701" y="0"/>
                      </a:moveTo>
                      <a:lnTo>
                        <a:pt x="798149" y="0"/>
                      </a:lnTo>
                      <a:lnTo>
                        <a:pt x="807850" y="38802"/>
                      </a:lnTo>
                      <a:lnTo>
                        <a:pt x="0" y="38802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9" name="Oval 185">
                  <a:extLst>
                    <a:ext uri="{FF2B5EF4-FFF2-40B4-BE49-F238E27FC236}">
                      <a16:creationId xmlns:a16="http://schemas.microsoft.com/office/drawing/2014/main" id="{7CCBAF39-6B3C-4492-84BD-48654EF349C1}"/>
                    </a:ext>
                  </a:extLst>
                </p:cNvPr>
                <p:cNvSpPr/>
                <p:nvPr/>
              </p:nvSpPr>
              <p:spPr>
                <a:xfrm>
                  <a:off x="2011377" y="2285877"/>
                  <a:ext cx="57366" cy="5736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0" name="Rounded Rectangle 76">
                  <a:extLst>
                    <a:ext uri="{FF2B5EF4-FFF2-40B4-BE49-F238E27FC236}">
                      <a16:creationId xmlns:a16="http://schemas.microsoft.com/office/drawing/2014/main" id="{B55C1A2C-B69E-443B-BB73-5684B42A3303}"/>
                    </a:ext>
                  </a:extLst>
                </p:cNvPr>
                <p:cNvSpPr/>
                <p:nvPr/>
              </p:nvSpPr>
              <p:spPr>
                <a:xfrm>
                  <a:off x="1297291" y="1361279"/>
                  <a:ext cx="758692" cy="7816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692" h="781686">
                      <a:moveTo>
                        <a:pt x="0" y="0"/>
                      </a:moveTo>
                      <a:lnTo>
                        <a:pt x="758692" y="0"/>
                      </a:lnTo>
                      <a:lnTo>
                        <a:pt x="265905" y="781686"/>
                      </a:lnTo>
                      <a:lnTo>
                        <a:pt x="0" y="781686"/>
                      </a:lnTo>
                      <a:close/>
                    </a:path>
                  </a:pathLst>
                </a:custGeom>
                <a:solidFill>
                  <a:srgbClr val="00DF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1" name="Rounded Rectangle 47">
                  <a:extLst>
                    <a:ext uri="{FF2B5EF4-FFF2-40B4-BE49-F238E27FC236}">
                      <a16:creationId xmlns:a16="http://schemas.microsoft.com/office/drawing/2014/main" id="{210ABAA5-EE63-4CCD-9D4B-5327411C38FB}"/>
                    </a:ext>
                  </a:extLst>
                </p:cNvPr>
                <p:cNvSpPr/>
                <p:nvPr/>
              </p:nvSpPr>
              <p:spPr>
                <a:xfrm>
                  <a:off x="1249957" y="1298537"/>
                  <a:ext cx="848642" cy="907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642" h="907666">
                      <a:moveTo>
                        <a:pt x="74670" y="0"/>
                      </a:moveTo>
                      <a:lnTo>
                        <a:pt x="848642" y="0"/>
                      </a:lnTo>
                      <a:lnTo>
                        <a:pt x="809681" y="61802"/>
                      </a:lnTo>
                      <a:lnTo>
                        <a:pt x="55038" y="61802"/>
                      </a:lnTo>
                      <a:lnTo>
                        <a:pt x="55038" y="843488"/>
                      </a:lnTo>
                      <a:lnTo>
                        <a:pt x="316895" y="843488"/>
                      </a:lnTo>
                      <a:lnTo>
                        <a:pt x="280669" y="900952"/>
                      </a:lnTo>
                      <a:lnTo>
                        <a:pt x="291319" y="907666"/>
                      </a:lnTo>
                      <a:lnTo>
                        <a:pt x="0" y="907666"/>
                      </a:lnTo>
                      <a:lnTo>
                        <a:pt x="0" y="74670"/>
                      </a:lnTo>
                      <a:cubicBezTo>
                        <a:pt x="0" y="33431"/>
                        <a:pt x="33431" y="0"/>
                        <a:pt x="7467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2" name="Rounded Rectangle 73">
                  <a:extLst>
                    <a:ext uri="{FF2B5EF4-FFF2-40B4-BE49-F238E27FC236}">
                      <a16:creationId xmlns:a16="http://schemas.microsoft.com/office/drawing/2014/main" id="{30266B27-2B13-43FA-A240-FD12A192F575}"/>
                    </a:ext>
                  </a:extLst>
                </p:cNvPr>
                <p:cNvSpPr/>
                <p:nvPr/>
              </p:nvSpPr>
              <p:spPr>
                <a:xfrm>
                  <a:off x="1390550" y="2206203"/>
                  <a:ext cx="1445799" cy="2167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5799" h="216714">
                      <a:moveTo>
                        <a:pt x="136620" y="0"/>
                      </a:moveTo>
                      <a:lnTo>
                        <a:pt x="1445799" y="0"/>
                      </a:lnTo>
                      <a:lnTo>
                        <a:pt x="1445799" y="142044"/>
                      </a:lnTo>
                      <a:cubicBezTo>
                        <a:pt x="1445799" y="183283"/>
                        <a:pt x="1412368" y="216714"/>
                        <a:pt x="1371129" y="216714"/>
                      </a:cubicBezTo>
                      <a:lnTo>
                        <a:pt x="0" y="216714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3" name="Oval 189">
                  <a:extLst>
                    <a:ext uri="{FF2B5EF4-FFF2-40B4-BE49-F238E27FC236}">
                      <a16:creationId xmlns:a16="http://schemas.microsoft.com/office/drawing/2014/main" id="{E7B58344-B9A4-4800-ADA1-BD6C87C734C9}"/>
                    </a:ext>
                  </a:extLst>
                </p:cNvPr>
                <p:cNvSpPr/>
                <p:nvPr/>
              </p:nvSpPr>
              <p:spPr>
                <a:xfrm>
                  <a:off x="2019132" y="2291700"/>
                  <a:ext cx="45720" cy="4572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442" name="TextBox 178">
                <a:extLst>
                  <a:ext uri="{FF2B5EF4-FFF2-40B4-BE49-F238E27FC236}">
                    <a16:creationId xmlns:a16="http://schemas.microsoft.com/office/drawing/2014/main" id="{DA226CE9-8A07-427B-9179-85E753C30BAE}"/>
                  </a:ext>
                </a:extLst>
              </p:cNvPr>
              <p:cNvSpPr txBox="1"/>
              <p:nvPr/>
            </p:nvSpPr>
            <p:spPr>
              <a:xfrm>
                <a:off x="3399442" y="2679240"/>
                <a:ext cx="786979" cy="3689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AU" sz="1200" b="1" dirty="0">
                    <a:solidFill>
                      <a:prstClr val="white"/>
                    </a:solidFill>
                  </a:rPr>
                  <a:t>eSAM</a:t>
                </a:r>
              </a:p>
            </p:txBody>
          </p:sp>
        </p:grpSp>
        <p:grpSp>
          <p:nvGrpSpPr>
            <p:cNvPr id="433" name="Group 169">
              <a:extLst>
                <a:ext uri="{FF2B5EF4-FFF2-40B4-BE49-F238E27FC236}">
                  <a16:creationId xmlns:a16="http://schemas.microsoft.com/office/drawing/2014/main" id="{9D7CCBCE-D784-4658-B5BF-DA2B3E3FDE8F}"/>
                </a:ext>
              </a:extLst>
            </p:cNvPr>
            <p:cNvGrpSpPr/>
            <p:nvPr/>
          </p:nvGrpSpPr>
          <p:grpSpPr>
            <a:xfrm>
              <a:off x="3202443" y="3338247"/>
              <a:ext cx="255370" cy="338551"/>
              <a:chOff x="562725" y="2632126"/>
              <a:chExt cx="415603" cy="550977"/>
            </a:xfrm>
          </p:grpSpPr>
          <p:grpSp>
            <p:nvGrpSpPr>
              <p:cNvPr id="434" name="Group 170">
                <a:extLst>
                  <a:ext uri="{FF2B5EF4-FFF2-40B4-BE49-F238E27FC236}">
                    <a16:creationId xmlns:a16="http://schemas.microsoft.com/office/drawing/2014/main" id="{DEC29660-1FC6-4EBB-A60B-53B93C7D9B03}"/>
                  </a:ext>
                </a:extLst>
              </p:cNvPr>
              <p:cNvGrpSpPr/>
              <p:nvPr/>
            </p:nvGrpSpPr>
            <p:grpSpPr>
              <a:xfrm>
                <a:off x="562725" y="2632126"/>
                <a:ext cx="415603" cy="550977"/>
                <a:chOff x="11094627" y="7712630"/>
                <a:chExt cx="769770" cy="1020508"/>
              </a:xfrm>
            </p:grpSpPr>
            <p:sp>
              <p:nvSpPr>
                <p:cNvPr id="436" name="Rounded Rectangle 172">
                  <a:extLst>
                    <a:ext uri="{FF2B5EF4-FFF2-40B4-BE49-F238E27FC236}">
                      <a16:creationId xmlns:a16="http://schemas.microsoft.com/office/drawing/2014/main" id="{D9CC749D-DECA-4983-B2D7-2DAD6D6E298F}"/>
                    </a:ext>
                  </a:extLst>
                </p:cNvPr>
                <p:cNvSpPr/>
                <p:nvPr/>
              </p:nvSpPr>
              <p:spPr>
                <a:xfrm>
                  <a:off x="11094627" y="7712630"/>
                  <a:ext cx="769770" cy="1020508"/>
                </a:xfrm>
                <a:prstGeom prst="roundRect">
                  <a:avLst>
                    <a:gd name="adj" fmla="val 680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37" name="Rounded Rectangle 339">
                  <a:extLst>
                    <a:ext uri="{FF2B5EF4-FFF2-40B4-BE49-F238E27FC236}">
                      <a16:creationId xmlns:a16="http://schemas.microsoft.com/office/drawing/2014/main" id="{1C1164E0-CC3E-4597-B53A-A3761AF17281}"/>
                    </a:ext>
                  </a:extLst>
                </p:cNvPr>
                <p:cNvSpPr/>
                <p:nvPr/>
              </p:nvSpPr>
              <p:spPr>
                <a:xfrm>
                  <a:off x="11094628" y="7712630"/>
                  <a:ext cx="697987" cy="102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7987" h="1020508">
                      <a:moveTo>
                        <a:pt x="52360" y="0"/>
                      </a:moveTo>
                      <a:lnTo>
                        <a:pt x="697987" y="0"/>
                      </a:lnTo>
                      <a:lnTo>
                        <a:pt x="57082" y="1020508"/>
                      </a:lnTo>
                      <a:lnTo>
                        <a:pt x="52360" y="1020508"/>
                      </a:lnTo>
                      <a:cubicBezTo>
                        <a:pt x="23442" y="1020508"/>
                        <a:pt x="0" y="997066"/>
                        <a:pt x="0" y="968148"/>
                      </a:cubicBezTo>
                      <a:lnTo>
                        <a:pt x="0" y="52360"/>
                      </a:lnTo>
                      <a:cubicBezTo>
                        <a:pt x="0" y="23442"/>
                        <a:pt x="23442" y="0"/>
                        <a:pt x="5236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38" name="Rectangle 174">
                  <a:extLst>
                    <a:ext uri="{FF2B5EF4-FFF2-40B4-BE49-F238E27FC236}">
                      <a16:creationId xmlns:a16="http://schemas.microsoft.com/office/drawing/2014/main" id="{14069010-2C63-4C7F-9093-211C6433C62B}"/>
                    </a:ext>
                  </a:extLst>
                </p:cNvPr>
                <p:cNvSpPr/>
                <p:nvPr/>
              </p:nvSpPr>
              <p:spPr>
                <a:xfrm>
                  <a:off x="11155667" y="7794919"/>
                  <a:ext cx="647688" cy="855931"/>
                </a:xfrm>
                <a:prstGeom prst="rect">
                  <a:avLst/>
                </a:prstGeom>
                <a:solidFill>
                  <a:srgbClr val="002F2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39" name="Oval 175">
                  <a:extLst>
                    <a:ext uri="{FF2B5EF4-FFF2-40B4-BE49-F238E27FC236}">
                      <a16:creationId xmlns:a16="http://schemas.microsoft.com/office/drawing/2014/main" id="{E492D46D-124A-45AC-AC97-7FF5BCE46D27}"/>
                    </a:ext>
                  </a:extLst>
                </p:cNvPr>
                <p:cNvSpPr/>
                <p:nvPr/>
              </p:nvSpPr>
              <p:spPr>
                <a:xfrm>
                  <a:off x="11455814" y="8667846"/>
                  <a:ext cx="47397" cy="4739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0" name="Oval 176">
                  <a:extLst>
                    <a:ext uri="{FF2B5EF4-FFF2-40B4-BE49-F238E27FC236}">
                      <a16:creationId xmlns:a16="http://schemas.microsoft.com/office/drawing/2014/main" id="{5DEA80F6-6892-4674-A300-D1D7A382E38A}"/>
                    </a:ext>
                  </a:extLst>
                </p:cNvPr>
                <p:cNvSpPr/>
                <p:nvPr/>
              </p:nvSpPr>
              <p:spPr>
                <a:xfrm>
                  <a:off x="11467682" y="7738694"/>
                  <a:ext cx="23660" cy="2366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sz="135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435" name="Picture 2" descr="See the source image">
                <a:extLst>
                  <a:ext uri="{FF2B5EF4-FFF2-40B4-BE49-F238E27FC236}">
                    <a16:creationId xmlns:a16="http://schemas.microsoft.com/office/drawing/2014/main" id="{7EB1A24C-A339-4702-A20F-63241A4DA9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526" y="2751878"/>
                <a:ext cx="298000" cy="29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55" name="Rectangle 454">
            <a:extLst>
              <a:ext uri="{FF2B5EF4-FFF2-40B4-BE49-F238E27FC236}">
                <a16:creationId xmlns:a16="http://schemas.microsoft.com/office/drawing/2014/main" id="{9755C4A6-3BC2-4407-A4A2-9E342A31FB47}"/>
              </a:ext>
            </a:extLst>
          </p:cNvPr>
          <p:cNvSpPr/>
          <p:nvPr/>
        </p:nvSpPr>
        <p:spPr>
          <a:xfrm>
            <a:off x="3419031" y="1879536"/>
            <a:ext cx="1205345" cy="782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800" dirty="0">
                <a:solidFill>
                  <a:srgbClr val="50535A"/>
                </a:solidFill>
              </a:rPr>
              <a:t>Add Chris as a new Standard user by entering his full legal name and email address  </a:t>
            </a:r>
          </a:p>
          <a:p>
            <a:pPr algn="ctr"/>
            <a:endParaRPr lang="en-AU" sz="800" dirty="0">
              <a:solidFill>
                <a:srgbClr val="50535A"/>
              </a:solidFill>
            </a:endParaRPr>
          </a:p>
        </p:txBody>
      </p:sp>
      <p:pic>
        <p:nvPicPr>
          <p:cNvPr id="400" name="Picture 399" descr="Icon&#10;&#10;Description automatically generated">
            <a:extLst>
              <a:ext uri="{FF2B5EF4-FFF2-40B4-BE49-F238E27FC236}">
                <a16:creationId xmlns:a16="http://schemas.microsoft.com/office/drawing/2014/main" id="{D6E13343-1E8F-9E4D-8E13-02BB555159C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077" y="1186136"/>
            <a:ext cx="579673" cy="568736"/>
          </a:xfrm>
          <a:prstGeom prst="rect">
            <a:avLst/>
          </a:prstGeom>
        </p:spPr>
      </p:pic>
      <p:pic>
        <p:nvPicPr>
          <p:cNvPr id="401" name="Picture 400" descr="Icon&#10;&#10;Description automatically generated">
            <a:extLst>
              <a:ext uri="{FF2B5EF4-FFF2-40B4-BE49-F238E27FC236}">
                <a16:creationId xmlns:a16="http://schemas.microsoft.com/office/drawing/2014/main" id="{44FBA767-1ED6-D943-8C40-9D6138502AC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817" y="1311913"/>
            <a:ext cx="754904" cy="461665"/>
          </a:xfrm>
          <a:prstGeom prst="rect">
            <a:avLst/>
          </a:prstGeom>
        </p:spPr>
      </p:pic>
      <p:sp>
        <p:nvSpPr>
          <p:cNvPr id="405" name="Oval 404">
            <a:extLst>
              <a:ext uri="{FF2B5EF4-FFF2-40B4-BE49-F238E27FC236}">
                <a16:creationId xmlns:a16="http://schemas.microsoft.com/office/drawing/2014/main" id="{F73530C9-3A99-F942-BF5A-11589B670BFB}"/>
              </a:ext>
            </a:extLst>
          </p:cNvPr>
          <p:cNvSpPr/>
          <p:nvPr/>
        </p:nvSpPr>
        <p:spPr>
          <a:xfrm>
            <a:off x="3419997" y="1035847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A2B427"/>
                </a:solidFill>
              </a:rPr>
              <a:t>2</a:t>
            </a:r>
          </a:p>
        </p:txBody>
      </p:sp>
      <p:sp>
        <p:nvSpPr>
          <p:cNvPr id="459" name="Oval 458">
            <a:extLst>
              <a:ext uri="{FF2B5EF4-FFF2-40B4-BE49-F238E27FC236}">
                <a16:creationId xmlns:a16="http://schemas.microsoft.com/office/drawing/2014/main" id="{C8827623-706E-4A48-B4B2-3DE33F6F2F0F}"/>
              </a:ext>
            </a:extLst>
          </p:cNvPr>
          <p:cNvSpPr/>
          <p:nvPr/>
        </p:nvSpPr>
        <p:spPr>
          <a:xfrm>
            <a:off x="4841777" y="1035847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A2B427"/>
                </a:solidFill>
              </a:rPr>
              <a:t>3</a:t>
            </a:r>
          </a:p>
        </p:txBody>
      </p:sp>
      <p:sp>
        <p:nvSpPr>
          <p:cNvPr id="460" name="Oval 459">
            <a:extLst>
              <a:ext uri="{FF2B5EF4-FFF2-40B4-BE49-F238E27FC236}">
                <a16:creationId xmlns:a16="http://schemas.microsoft.com/office/drawing/2014/main" id="{E2B4F6D4-FEFE-5D42-A5E8-D13034976DBE}"/>
              </a:ext>
            </a:extLst>
          </p:cNvPr>
          <p:cNvSpPr/>
          <p:nvPr/>
        </p:nvSpPr>
        <p:spPr>
          <a:xfrm>
            <a:off x="6598094" y="1035847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A2B427"/>
                </a:solidFill>
              </a:rPr>
              <a:t>4</a:t>
            </a:r>
          </a:p>
        </p:txBody>
      </p:sp>
      <p:sp>
        <p:nvSpPr>
          <p:cNvPr id="461" name="Oval 460">
            <a:extLst>
              <a:ext uri="{FF2B5EF4-FFF2-40B4-BE49-F238E27FC236}">
                <a16:creationId xmlns:a16="http://schemas.microsoft.com/office/drawing/2014/main" id="{21D35336-C2CA-734C-97D4-A5E10D044D82}"/>
              </a:ext>
            </a:extLst>
          </p:cNvPr>
          <p:cNvSpPr/>
          <p:nvPr/>
        </p:nvSpPr>
        <p:spPr>
          <a:xfrm>
            <a:off x="1803070" y="3282818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F48072"/>
                </a:solidFill>
              </a:rPr>
              <a:t>1</a:t>
            </a:r>
          </a:p>
        </p:txBody>
      </p:sp>
      <p:sp>
        <p:nvSpPr>
          <p:cNvPr id="462" name="Oval 461">
            <a:extLst>
              <a:ext uri="{FF2B5EF4-FFF2-40B4-BE49-F238E27FC236}">
                <a16:creationId xmlns:a16="http://schemas.microsoft.com/office/drawing/2014/main" id="{244494EE-03ED-4348-9ED1-EF4BD0E71097}"/>
              </a:ext>
            </a:extLst>
          </p:cNvPr>
          <p:cNvSpPr/>
          <p:nvPr/>
        </p:nvSpPr>
        <p:spPr>
          <a:xfrm>
            <a:off x="3692192" y="3282818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F48072"/>
                </a:solidFill>
              </a:rPr>
              <a:t>2</a:t>
            </a:r>
          </a:p>
        </p:txBody>
      </p:sp>
      <p:sp>
        <p:nvSpPr>
          <p:cNvPr id="463" name="Oval 462">
            <a:extLst>
              <a:ext uri="{FF2B5EF4-FFF2-40B4-BE49-F238E27FC236}">
                <a16:creationId xmlns:a16="http://schemas.microsoft.com/office/drawing/2014/main" id="{CCF83411-1E74-4047-9156-21B5A2A76425}"/>
              </a:ext>
            </a:extLst>
          </p:cNvPr>
          <p:cNvSpPr/>
          <p:nvPr/>
        </p:nvSpPr>
        <p:spPr>
          <a:xfrm>
            <a:off x="5207344" y="3282818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F48072"/>
                </a:solidFill>
              </a:rPr>
              <a:t>3</a:t>
            </a:r>
          </a:p>
        </p:txBody>
      </p:sp>
      <p:sp>
        <p:nvSpPr>
          <p:cNvPr id="464" name="Oval 463">
            <a:extLst>
              <a:ext uri="{FF2B5EF4-FFF2-40B4-BE49-F238E27FC236}">
                <a16:creationId xmlns:a16="http://schemas.microsoft.com/office/drawing/2014/main" id="{FE23BC5C-69F6-364E-9A9C-4AC39EA0591A}"/>
              </a:ext>
            </a:extLst>
          </p:cNvPr>
          <p:cNvSpPr/>
          <p:nvPr/>
        </p:nvSpPr>
        <p:spPr>
          <a:xfrm>
            <a:off x="6654783" y="3282818"/>
            <a:ext cx="367989" cy="35975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2400" b="1" dirty="0">
                <a:solidFill>
                  <a:srgbClr val="F48072"/>
                </a:solidFill>
              </a:rPr>
              <a:t>4</a:t>
            </a: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79BFA1B2-77C5-F54A-8ADE-12B4C8A79F0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892" y="1230497"/>
            <a:ext cx="532038" cy="532038"/>
          </a:xfrm>
          <a:prstGeom prst="rect">
            <a:avLst/>
          </a:prstGeom>
        </p:spPr>
      </p:pic>
      <p:cxnSp>
        <p:nvCxnSpPr>
          <p:cNvPr id="466" name="Straight Connector 465">
            <a:extLst>
              <a:ext uri="{FF2B5EF4-FFF2-40B4-BE49-F238E27FC236}">
                <a16:creationId xmlns:a16="http://schemas.microsoft.com/office/drawing/2014/main" id="{14E397B6-DD49-BA4C-B3FD-F755D6B74FB3}"/>
              </a:ext>
            </a:extLst>
          </p:cNvPr>
          <p:cNvCxnSpPr>
            <a:cxnSpLocks/>
          </p:cNvCxnSpPr>
          <p:nvPr/>
        </p:nvCxnSpPr>
        <p:spPr>
          <a:xfrm>
            <a:off x="4720133" y="1115351"/>
            <a:ext cx="0" cy="152074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2F8B6E64-86EC-9D48-A259-FFCD09B1BF97}"/>
              </a:ext>
            </a:extLst>
          </p:cNvPr>
          <p:cNvCxnSpPr>
            <a:cxnSpLocks/>
          </p:cNvCxnSpPr>
          <p:nvPr/>
        </p:nvCxnSpPr>
        <p:spPr>
          <a:xfrm>
            <a:off x="3308300" y="1115351"/>
            <a:ext cx="0" cy="152074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68" name="Oval 467">
            <a:extLst>
              <a:ext uri="{FF2B5EF4-FFF2-40B4-BE49-F238E27FC236}">
                <a16:creationId xmlns:a16="http://schemas.microsoft.com/office/drawing/2014/main" id="{09C58976-D0D0-8D44-A44D-1E7112C00387}"/>
              </a:ext>
            </a:extLst>
          </p:cNvPr>
          <p:cNvSpPr/>
          <p:nvPr/>
        </p:nvSpPr>
        <p:spPr>
          <a:xfrm>
            <a:off x="2742566" y="1089058"/>
            <a:ext cx="472283" cy="461718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1 min</a:t>
            </a:r>
          </a:p>
        </p:txBody>
      </p:sp>
      <p:sp>
        <p:nvSpPr>
          <p:cNvPr id="469" name="Oval 468">
            <a:extLst>
              <a:ext uri="{FF2B5EF4-FFF2-40B4-BE49-F238E27FC236}">
                <a16:creationId xmlns:a16="http://schemas.microsoft.com/office/drawing/2014/main" id="{41FDC5E1-F937-9A49-BA32-059E1B608A59}"/>
              </a:ext>
            </a:extLst>
          </p:cNvPr>
          <p:cNvSpPr/>
          <p:nvPr/>
        </p:nvSpPr>
        <p:spPr>
          <a:xfrm>
            <a:off x="4227131" y="1089058"/>
            <a:ext cx="472283" cy="461718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1 min</a:t>
            </a: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5D2351F5-469E-1542-BC56-6EB0E6D7134D}"/>
              </a:ext>
            </a:extLst>
          </p:cNvPr>
          <p:cNvSpPr/>
          <p:nvPr/>
        </p:nvSpPr>
        <p:spPr>
          <a:xfrm>
            <a:off x="7501774" y="1089058"/>
            <a:ext cx="472283" cy="461718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5 mins</a:t>
            </a:r>
          </a:p>
        </p:txBody>
      </p:sp>
      <p:sp>
        <p:nvSpPr>
          <p:cNvPr id="471" name="Oval 470">
            <a:extLst>
              <a:ext uri="{FF2B5EF4-FFF2-40B4-BE49-F238E27FC236}">
                <a16:creationId xmlns:a16="http://schemas.microsoft.com/office/drawing/2014/main" id="{4510F206-2397-8D4A-8CC7-A7C42C1952CD}"/>
              </a:ext>
            </a:extLst>
          </p:cNvPr>
          <p:cNvSpPr/>
          <p:nvPr/>
        </p:nvSpPr>
        <p:spPr>
          <a:xfrm>
            <a:off x="2842686" y="3275569"/>
            <a:ext cx="472283" cy="461718"/>
          </a:xfrm>
          <a:prstGeom prst="ellipse">
            <a:avLst/>
          </a:prstGeom>
          <a:solidFill>
            <a:srgbClr val="F48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5 mins</a:t>
            </a: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8390678F-B013-5A46-B645-AA9DF633FDBE}"/>
              </a:ext>
            </a:extLst>
          </p:cNvPr>
          <p:cNvSpPr/>
          <p:nvPr/>
        </p:nvSpPr>
        <p:spPr>
          <a:xfrm>
            <a:off x="6148941" y="3285004"/>
            <a:ext cx="472283" cy="461718"/>
          </a:xfrm>
          <a:prstGeom prst="ellipse">
            <a:avLst/>
          </a:prstGeom>
          <a:solidFill>
            <a:srgbClr val="F48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2 mins</a:t>
            </a:r>
          </a:p>
        </p:txBody>
      </p:sp>
      <p:sp>
        <p:nvSpPr>
          <p:cNvPr id="473" name="Oval 472">
            <a:extLst>
              <a:ext uri="{FF2B5EF4-FFF2-40B4-BE49-F238E27FC236}">
                <a16:creationId xmlns:a16="http://schemas.microsoft.com/office/drawing/2014/main" id="{0B6423C9-9451-E145-8B65-1AE18CF023D4}"/>
              </a:ext>
            </a:extLst>
          </p:cNvPr>
          <p:cNvSpPr/>
          <p:nvPr/>
        </p:nvSpPr>
        <p:spPr>
          <a:xfrm>
            <a:off x="5782049" y="1089058"/>
            <a:ext cx="472283" cy="461718"/>
          </a:xfrm>
          <a:prstGeom prst="ellipse">
            <a:avLst/>
          </a:prstGeom>
          <a:solidFill>
            <a:srgbClr val="A2B4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2 mins</a:t>
            </a:r>
          </a:p>
        </p:txBody>
      </p:sp>
      <p:sp>
        <p:nvSpPr>
          <p:cNvPr id="474" name="Oval 473">
            <a:extLst>
              <a:ext uri="{FF2B5EF4-FFF2-40B4-BE49-F238E27FC236}">
                <a16:creationId xmlns:a16="http://schemas.microsoft.com/office/drawing/2014/main" id="{30C7C653-748A-3246-B230-A8FD2615CEAC}"/>
              </a:ext>
            </a:extLst>
          </p:cNvPr>
          <p:cNvSpPr/>
          <p:nvPr/>
        </p:nvSpPr>
        <p:spPr>
          <a:xfrm>
            <a:off x="4679433" y="3285004"/>
            <a:ext cx="472283" cy="461718"/>
          </a:xfrm>
          <a:prstGeom prst="ellipse">
            <a:avLst/>
          </a:prstGeom>
          <a:solidFill>
            <a:srgbClr val="F48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2 mins</a:t>
            </a:r>
          </a:p>
        </p:txBody>
      </p:sp>
      <p:sp>
        <p:nvSpPr>
          <p:cNvPr id="475" name="Oval 474">
            <a:extLst>
              <a:ext uri="{FF2B5EF4-FFF2-40B4-BE49-F238E27FC236}">
                <a16:creationId xmlns:a16="http://schemas.microsoft.com/office/drawing/2014/main" id="{8457DDEE-E06F-874D-93ED-7FFB4313B3AA}"/>
              </a:ext>
            </a:extLst>
          </p:cNvPr>
          <p:cNvSpPr/>
          <p:nvPr/>
        </p:nvSpPr>
        <p:spPr>
          <a:xfrm>
            <a:off x="7616897" y="3285004"/>
            <a:ext cx="472283" cy="461718"/>
          </a:xfrm>
          <a:prstGeom prst="ellipse">
            <a:avLst/>
          </a:prstGeom>
          <a:solidFill>
            <a:srgbClr val="F48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AU" sz="751" b="1" dirty="0">
                <a:solidFill>
                  <a:prstClr val="white"/>
                </a:solidFill>
              </a:rPr>
              <a:t>1 min</a:t>
            </a:r>
          </a:p>
        </p:txBody>
      </p: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DB61A441-6FFA-9849-9887-62AD4E6DEBF7}"/>
              </a:ext>
            </a:extLst>
          </p:cNvPr>
          <p:cNvCxnSpPr>
            <a:cxnSpLocks/>
          </p:cNvCxnSpPr>
          <p:nvPr/>
        </p:nvCxnSpPr>
        <p:spPr>
          <a:xfrm>
            <a:off x="6686126" y="3340224"/>
            <a:ext cx="0" cy="152074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7" name="Straight Connector 476">
            <a:extLst>
              <a:ext uri="{FF2B5EF4-FFF2-40B4-BE49-F238E27FC236}">
                <a16:creationId xmlns:a16="http://schemas.microsoft.com/office/drawing/2014/main" id="{F4039451-E601-B74D-9F36-9505F809C06F}"/>
              </a:ext>
            </a:extLst>
          </p:cNvPr>
          <p:cNvCxnSpPr>
            <a:cxnSpLocks/>
          </p:cNvCxnSpPr>
          <p:nvPr/>
        </p:nvCxnSpPr>
        <p:spPr>
          <a:xfrm>
            <a:off x="5215775" y="3340224"/>
            <a:ext cx="0" cy="152074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78" name="Title 1">
            <a:extLst>
              <a:ext uri="{FF2B5EF4-FFF2-40B4-BE49-F238E27FC236}">
                <a16:creationId xmlns:a16="http://schemas.microsoft.com/office/drawing/2014/main" id="{0EFD839D-BBA7-3F43-81DB-05B84CB77879}"/>
              </a:ext>
            </a:extLst>
          </p:cNvPr>
          <p:cNvSpPr txBox="1">
            <a:spLocks/>
          </p:cNvSpPr>
          <p:nvPr/>
        </p:nvSpPr>
        <p:spPr>
          <a:xfrm>
            <a:off x="185068" y="246005"/>
            <a:ext cx="7670739" cy="461665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sz="2400" b="1" dirty="0" err="1">
                <a:solidFill>
                  <a:srgbClr val="002D3F"/>
                </a:solidFill>
                <a:latin typeface="Arial Nova" panose="020B0504020202020204" pitchFamily="34" charset="0"/>
              </a:rPr>
              <a:t>myGovID</a:t>
            </a:r>
            <a:r>
              <a:rPr lang="en-AU" sz="2400" b="1" dirty="0">
                <a:solidFill>
                  <a:srgbClr val="002D3F"/>
                </a:solidFill>
                <a:latin typeface="Arial Nova" panose="020B0504020202020204" pitchFamily="34" charset="0"/>
              </a:rPr>
              <a:t> &amp; RAM: Set up an ESS user</a:t>
            </a:r>
          </a:p>
        </p:txBody>
      </p:sp>
      <p:grpSp>
        <p:nvGrpSpPr>
          <p:cNvPr id="604" name="Group 603">
            <a:extLst>
              <a:ext uri="{FF2B5EF4-FFF2-40B4-BE49-F238E27FC236}">
                <a16:creationId xmlns:a16="http://schemas.microsoft.com/office/drawing/2014/main" id="{B81D0FB8-AB57-4D0E-8B89-634516C2D35F}"/>
              </a:ext>
            </a:extLst>
          </p:cNvPr>
          <p:cNvGrpSpPr/>
          <p:nvPr/>
        </p:nvGrpSpPr>
        <p:grpSpPr>
          <a:xfrm>
            <a:off x="746780" y="3425378"/>
            <a:ext cx="449973" cy="594119"/>
            <a:chOff x="822930" y="1074141"/>
            <a:chExt cx="983907" cy="1615578"/>
          </a:xfrm>
        </p:grpSpPr>
        <p:grpSp>
          <p:nvGrpSpPr>
            <p:cNvPr id="605" name="Group 604">
              <a:extLst>
                <a:ext uri="{FF2B5EF4-FFF2-40B4-BE49-F238E27FC236}">
                  <a16:creationId xmlns:a16="http://schemas.microsoft.com/office/drawing/2014/main" id="{9211E88D-2755-406D-B6CA-FCC0F710D121}"/>
                </a:ext>
              </a:extLst>
            </p:cNvPr>
            <p:cNvGrpSpPr/>
            <p:nvPr/>
          </p:nvGrpSpPr>
          <p:grpSpPr>
            <a:xfrm>
              <a:off x="822930" y="1074141"/>
              <a:ext cx="983907" cy="1615578"/>
              <a:chOff x="10266257" y="6957722"/>
              <a:chExt cx="776411" cy="1274869"/>
            </a:xfrm>
          </p:grpSpPr>
          <p:grpSp>
            <p:nvGrpSpPr>
              <p:cNvPr id="609" name="Group 608">
                <a:extLst>
                  <a:ext uri="{FF2B5EF4-FFF2-40B4-BE49-F238E27FC236}">
                    <a16:creationId xmlns:a16="http://schemas.microsoft.com/office/drawing/2014/main" id="{9ECB70C3-7B40-49A2-8895-18228DD54CF6}"/>
                  </a:ext>
                </a:extLst>
              </p:cNvPr>
              <p:cNvGrpSpPr/>
              <p:nvPr/>
            </p:nvGrpSpPr>
            <p:grpSpPr>
              <a:xfrm>
                <a:off x="10266257" y="6957722"/>
                <a:ext cx="776411" cy="1222308"/>
                <a:chOff x="590550" y="6961361"/>
                <a:chExt cx="1260475" cy="1984374"/>
              </a:xfrm>
            </p:grpSpPr>
            <p:sp>
              <p:nvSpPr>
                <p:cNvPr id="611" name="Freeform 2430">
                  <a:extLst>
                    <a:ext uri="{FF2B5EF4-FFF2-40B4-BE49-F238E27FC236}">
                      <a16:creationId xmlns:a16="http://schemas.microsoft.com/office/drawing/2014/main" id="{54038CB1-0ACD-4BFA-8EFF-C59795F328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3175" y="7834486"/>
                  <a:ext cx="498475" cy="815975"/>
                </a:xfrm>
                <a:custGeom>
                  <a:avLst/>
                  <a:gdLst>
                    <a:gd name="T0" fmla="*/ 314 w 314"/>
                    <a:gd name="T1" fmla="*/ 0 h 514"/>
                    <a:gd name="T2" fmla="*/ 306 w 314"/>
                    <a:gd name="T3" fmla="*/ 514 h 514"/>
                    <a:gd name="T4" fmla="*/ 228 w 314"/>
                    <a:gd name="T5" fmla="*/ 514 h 514"/>
                    <a:gd name="T6" fmla="*/ 214 w 314"/>
                    <a:gd name="T7" fmla="*/ 450 h 514"/>
                    <a:gd name="T8" fmla="*/ 202 w 314"/>
                    <a:gd name="T9" fmla="*/ 514 h 514"/>
                    <a:gd name="T10" fmla="*/ 0 w 314"/>
                    <a:gd name="T11" fmla="*/ 514 h 514"/>
                    <a:gd name="T12" fmla="*/ 26 w 314"/>
                    <a:gd name="T13" fmla="*/ 340 h 514"/>
                    <a:gd name="T14" fmla="*/ 314 w 314"/>
                    <a:gd name="T15" fmla="*/ 0 h 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4" h="514">
                      <a:moveTo>
                        <a:pt x="314" y="0"/>
                      </a:moveTo>
                      <a:lnTo>
                        <a:pt x="306" y="514"/>
                      </a:lnTo>
                      <a:lnTo>
                        <a:pt x="228" y="514"/>
                      </a:lnTo>
                      <a:lnTo>
                        <a:pt x="214" y="450"/>
                      </a:lnTo>
                      <a:lnTo>
                        <a:pt x="202" y="514"/>
                      </a:lnTo>
                      <a:lnTo>
                        <a:pt x="0" y="514"/>
                      </a:lnTo>
                      <a:lnTo>
                        <a:pt x="26" y="340"/>
                      </a:lnTo>
                      <a:lnTo>
                        <a:pt x="314" y="0"/>
                      </a:lnTo>
                      <a:close/>
                    </a:path>
                  </a:pathLst>
                </a:custGeom>
                <a:solidFill>
                  <a:srgbClr val="FFE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2" name="Rectangle 611">
                  <a:extLst>
                    <a:ext uri="{FF2B5EF4-FFF2-40B4-BE49-F238E27FC236}">
                      <a16:creationId xmlns:a16="http://schemas.microsoft.com/office/drawing/2014/main" id="{6BCC2C8B-137B-4F72-B3EE-EE1F9918C97D}"/>
                    </a:ext>
                  </a:extLst>
                </p:cNvPr>
                <p:cNvSpPr/>
                <p:nvPr/>
              </p:nvSpPr>
              <p:spPr>
                <a:xfrm>
                  <a:off x="1084262" y="8512769"/>
                  <a:ext cx="280987" cy="432966"/>
                </a:xfrm>
                <a:prstGeom prst="rect">
                  <a:avLst/>
                </a:pr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3" name="Freeform 2431">
                  <a:extLst>
                    <a:ext uri="{FF2B5EF4-FFF2-40B4-BE49-F238E27FC236}">
                      <a16:creationId xmlns:a16="http://schemas.microsoft.com/office/drawing/2014/main" id="{EFD889DA-AD3D-492E-A00F-B0449EAD01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3175" y="7834486"/>
                  <a:ext cx="498475" cy="815975"/>
                </a:xfrm>
                <a:custGeom>
                  <a:avLst/>
                  <a:gdLst>
                    <a:gd name="T0" fmla="*/ 314 w 314"/>
                    <a:gd name="T1" fmla="*/ 0 h 514"/>
                    <a:gd name="T2" fmla="*/ 306 w 314"/>
                    <a:gd name="T3" fmla="*/ 514 h 514"/>
                    <a:gd name="T4" fmla="*/ 228 w 314"/>
                    <a:gd name="T5" fmla="*/ 514 h 514"/>
                    <a:gd name="T6" fmla="*/ 214 w 314"/>
                    <a:gd name="T7" fmla="*/ 450 h 514"/>
                    <a:gd name="T8" fmla="*/ 202 w 314"/>
                    <a:gd name="T9" fmla="*/ 514 h 514"/>
                    <a:gd name="T10" fmla="*/ 0 w 314"/>
                    <a:gd name="T11" fmla="*/ 514 h 514"/>
                    <a:gd name="T12" fmla="*/ 26 w 314"/>
                    <a:gd name="T13" fmla="*/ 340 h 514"/>
                    <a:gd name="T14" fmla="*/ 314 w 314"/>
                    <a:gd name="T15" fmla="*/ 0 h 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4" h="514">
                      <a:moveTo>
                        <a:pt x="314" y="0"/>
                      </a:moveTo>
                      <a:lnTo>
                        <a:pt x="306" y="514"/>
                      </a:lnTo>
                      <a:lnTo>
                        <a:pt x="228" y="514"/>
                      </a:lnTo>
                      <a:lnTo>
                        <a:pt x="214" y="450"/>
                      </a:lnTo>
                      <a:lnTo>
                        <a:pt x="202" y="514"/>
                      </a:lnTo>
                      <a:lnTo>
                        <a:pt x="0" y="514"/>
                      </a:lnTo>
                      <a:lnTo>
                        <a:pt x="26" y="340"/>
                      </a:lnTo>
                      <a:lnTo>
                        <a:pt x="31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4" name="Freeform 2436">
                  <a:extLst>
                    <a:ext uri="{FF2B5EF4-FFF2-40B4-BE49-F238E27FC236}">
                      <a16:creationId xmlns:a16="http://schemas.microsoft.com/office/drawing/2014/main" id="{CAFADC7F-A003-419C-A757-2701A2DE84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1950" y="7885286"/>
                  <a:ext cx="219075" cy="219075"/>
                </a:xfrm>
                <a:custGeom>
                  <a:avLst/>
                  <a:gdLst>
                    <a:gd name="T0" fmla="*/ 138 w 138"/>
                    <a:gd name="T1" fmla="*/ 68 h 138"/>
                    <a:gd name="T2" fmla="*/ 138 w 138"/>
                    <a:gd name="T3" fmla="*/ 68 h 138"/>
                    <a:gd name="T4" fmla="*/ 136 w 138"/>
                    <a:gd name="T5" fmla="*/ 82 h 138"/>
                    <a:gd name="T6" fmla="*/ 132 w 138"/>
                    <a:gd name="T7" fmla="*/ 96 h 138"/>
                    <a:gd name="T8" fmla="*/ 126 w 138"/>
                    <a:gd name="T9" fmla="*/ 106 h 138"/>
                    <a:gd name="T10" fmla="*/ 118 w 138"/>
                    <a:gd name="T11" fmla="*/ 118 h 138"/>
                    <a:gd name="T12" fmla="*/ 108 w 138"/>
                    <a:gd name="T13" fmla="*/ 126 h 138"/>
                    <a:gd name="T14" fmla="*/ 96 w 138"/>
                    <a:gd name="T15" fmla="*/ 132 h 138"/>
                    <a:gd name="T16" fmla="*/ 84 w 138"/>
                    <a:gd name="T17" fmla="*/ 136 h 138"/>
                    <a:gd name="T18" fmla="*/ 70 w 138"/>
                    <a:gd name="T19" fmla="*/ 138 h 138"/>
                    <a:gd name="T20" fmla="*/ 70 w 138"/>
                    <a:gd name="T21" fmla="*/ 138 h 138"/>
                    <a:gd name="T22" fmla="*/ 56 w 138"/>
                    <a:gd name="T23" fmla="*/ 136 h 138"/>
                    <a:gd name="T24" fmla="*/ 42 w 138"/>
                    <a:gd name="T25" fmla="*/ 132 h 138"/>
                    <a:gd name="T26" fmla="*/ 32 w 138"/>
                    <a:gd name="T27" fmla="*/ 126 h 138"/>
                    <a:gd name="T28" fmla="*/ 22 w 138"/>
                    <a:gd name="T29" fmla="*/ 118 h 138"/>
                    <a:gd name="T30" fmla="*/ 12 w 138"/>
                    <a:gd name="T31" fmla="*/ 106 h 138"/>
                    <a:gd name="T32" fmla="*/ 6 w 138"/>
                    <a:gd name="T33" fmla="*/ 96 h 138"/>
                    <a:gd name="T34" fmla="*/ 2 w 138"/>
                    <a:gd name="T35" fmla="*/ 82 h 138"/>
                    <a:gd name="T36" fmla="*/ 0 w 138"/>
                    <a:gd name="T37" fmla="*/ 68 h 138"/>
                    <a:gd name="T38" fmla="*/ 0 w 138"/>
                    <a:gd name="T39" fmla="*/ 68 h 138"/>
                    <a:gd name="T40" fmla="*/ 2 w 138"/>
                    <a:gd name="T41" fmla="*/ 54 h 138"/>
                    <a:gd name="T42" fmla="*/ 6 w 138"/>
                    <a:gd name="T43" fmla="*/ 42 h 138"/>
                    <a:gd name="T44" fmla="*/ 12 w 138"/>
                    <a:gd name="T45" fmla="*/ 30 h 138"/>
                    <a:gd name="T46" fmla="*/ 22 w 138"/>
                    <a:gd name="T47" fmla="*/ 20 h 138"/>
                    <a:gd name="T48" fmla="*/ 32 w 138"/>
                    <a:gd name="T49" fmla="*/ 12 h 138"/>
                    <a:gd name="T50" fmla="*/ 42 w 138"/>
                    <a:gd name="T51" fmla="*/ 6 h 138"/>
                    <a:gd name="T52" fmla="*/ 56 w 138"/>
                    <a:gd name="T53" fmla="*/ 2 h 138"/>
                    <a:gd name="T54" fmla="*/ 70 w 138"/>
                    <a:gd name="T55" fmla="*/ 0 h 138"/>
                    <a:gd name="T56" fmla="*/ 70 w 138"/>
                    <a:gd name="T57" fmla="*/ 0 h 138"/>
                    <a:gd name="T58" fmla="*/ 84 w 138"/>
                    <a:gd name="T59" fmla="*/ 2 h 138"/>
                    <a:gd name="T60" fmla="*/ 96 w 138"/>
                    <a:gd name="T61" fmla="*/ 6 h 138"/>
                    <a:gd name="T62" fmla="*/ 108 w 138"/>
                    <a:gd name="T63" fmla="*/ 12 h 138"/>
                    <a:gd name="T64" fmla="*/ 118 w 138"/>
                    <a:gd name="T65" fmla="*/ 20 h 138"/>
                    <a:gd name="T66" fmla="*/ 126 w 138"/>
                    <a:gd name="T67" fmla="*/ 30 h 138"/>
                    <a:gd name="T68" fmla="*/ 132 w 138"/>
                    <a:gd name="T69" fmla="*/ 42 h 138"/>
                    <a:gd name="T70" fmla="*/ 136 w 138"/>
                    <a:gd name="T71" fmla="*/ 54 h 138"/>
                    <a:gd name="T72" fmla="*/ 138 w 138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8" h="138">
                      <a:moveTo>
                        <a:pt x="138" y="68"/>
                      </a:moveTo>
                      <a:lnTo>
                        <a:pt x="138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6" y="106"/>
                      </a:lnTo>
                      <a:lnTo>
                        <a:pt x="118" y="118"/>
                      </a:lnTo>
                      <a:lnTo>
                        <a:pt x="108" y="126"/>
                      </a:lnTo>
                      <a:lnTo>
                        <a:pt x="96" y="132"/>
                      </a:lnTo>
                      <a:lnTo>
                        <a:pt x="84" y="136"/>
                      </a:lnTo>
                      <a:lnTo>
                        <a:pt x="70" y="138"/>
                      </a:lnTo>
                      <a:lnTo>
                        <a:pt x="70" y="138"/>
                      </a:lnTo>
                      <a:lnTo>
                        <a:pt x="56" y="136"/>
                      </a:lnTo>
                      <a:lnTo>
                        <a:pt x="42" y="132"/>
                      </a:lnTo>
                      <a:lnTo>
                        <a:pt x="32" y="126"/>
                      </a:lnTo>
                      <a:lnTo>
                        <a:pt x="22" y="118"/>
                      </a:lnTo>
                      <a:lnTo>
                        <a:pt x="12" y="106"/>
                      </a:lnTo>
                      <a:lnTo>
                        <a:pt x="6" y="96"/>
                      </a:lnTo>
                      <a:lnTo>
                        <a:pt x="2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2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22" y="20"/>
                      </a:lnTo>
                      <a:lnTo>
                        <a:pt x="32" y="12"/>
                      </a:lnTo>
                      <a:lnTo>
                        <a:pt x="42" y="6"/>
                      </a:lnTo>
                      <a:lnTo>
                        <a:pt x="56" y="2"/>
                      </a:lnTo>
                      <a:lnTo>
                        <a:pt x="70" y="0"/>
                      </a:lnTo>
                      <a:lnTo>
                        <a:pt x="70" y="0"/>
                      </a:lnTo>
                      <a:lnTo>
                        <a:pt x="84" y="2"/>
                      </a:lnTo>
                      <a:lnTo>
                        <a:pt x="96" y="6"/>
                      </a:lnTo>
                      <a:lnTo>
                        <a:pt x="108" y="12"/>
                      </a:lnTo>
                      <a:lnTo>
                        <a:pt x="118" y="20"/>
                      </a:lnTo>
                      <a:lnTo>
                        <a:pt x="126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8" y="68"/>
                      </a:lnTo>
                      <a:close/>
                    </a:path>
                  </a:pathLst>
                </a:cu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5" name="Freeform 2437">
                  <a:extLst>
                    <a:ext uri="{FF2B5EF4-FFF2-40B4-BE49-F238E27FC236}">
                      <a16:creationId xmlns:a16="http://schemas.microsoft.com/office/drawing/2014/main" id="{534E5860-715D-49C2-ACF2-4E6D45306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1950" y="7885286"/>
                  <a:ext cx="219075" cy="219075"/>
                </a:xfrm>
                <a:custGeom>
                  <a:avLst/>
                  <a:gdLst>
                    <a:gd name="T0" fmla="*/ 138 w 138"/>
                    <a:gd name="T1" fmla="*/ 68 h 138"/>
                    <a:gd name="T2" fmla="*/ 138 w 138"/>
                    <a:gd name="T3" fmla="*/ 68 h 138"/>
                    <a:gd name="T4" fmla="*/ 136 w 138"/>
                    <a:gd name="T5" fmla="*/ 82 h 138"/>
                    <a:gd name="T6" fmla="*/ 132 w 138"/>
                    <a:gd name="T7" fmla="*/ 96 h 138"/>
                    <a:gd name="T8" fmla="*/ 126 w 138"/>
                    <a:gd name="T9" fmla="*/ 106 h 138"/>
                    <a:gd name="T10" fmla="*/ 118 w 138"/>
                    <a:gd name="T11" fmla="*/ 118 h 138"/>
                    <a:gd name="T12" fmla="*/ 108 w 138"/>
                    <a:gd name="T13" fmla="*/ 126 h 138"/>
                    <a:gd name="T14" fmla="*/ 96 w 138"/>
                    <a:gd name="T15" fmla="*/ 132 h 138"/>
                    <a:gd name="T16" fmla="*/ 84 w 138"/>
                    <a:gd name="T17" fmla="*/ 136 h 138"/>
                    <a:gd name="T18" fmla="*/ 70 w 138"/>
                    <a:gd name="T19" fmla="*/ 138 h 138"/>
                    <a:gd name="T20" fmla="*/ 70 w 138"/>
                    <a:gd name="T21" fmla="*/ 138 h 138"/>
                    <a:gd name="T22" fmla="*/ 56 w 138"/>
                    <a:gd name="T23" fmla="*/ 136 h 138"/>
                    <a:gd name="T24" fmla="*/ 42 w 138"/>
                    <a:gd name="T25" fmla="*/ 132 h 138"/>
                    <a:gd name="T26" fmla="*/ 32 w 138"/>
                    <a:gd name="T27" fmla="*/ 126 h 138"/>
                    <a:gd name="T28" fmla="*/ 22 w 138"/>
                    <a:gd name="T29" fmla="*/ 118 h 138"/>
                    <a:gd name="T30" fmla="*/ 12 w 138"/>
                    <a:gd name="T31" fmla="*/ 106 h 138"/>
                    <a:gd name="T32" fmla="*/ 6 w 138"/>
                    <a:gd name="T33" fmla="*/ 96 h 138"/>
                    <a:gd name="T34" fmla="*/ 2 w 138"/>
                    <a:gd name="T35" fmla="*/ 82 h 138"/>
                    <a:gd name="T36" fmla="*/ 0 w 138"/>
                    <a:gd name="T37" fmla="*/ 68 h 138"/>
                    <a:gd name="T38" fmla="*/ 0 w 138"/>
                    <a:gd name="T39" fmla="*/ 68 h 138"/>
                    <a:gd name="T40" fmla="*/ 2 w 138"/>
                    <a:gd name="T41" fmla="*/ 54 h 138"/>
                    <a:gd name="T42" fmla="*/ 6 w 138"/>
                    <a:gd name="T43" fmla="*/ 42 h 138"/>
                    <a:gd name="T44" fmla="*/ 12 w 138"/>
                    <a:gd name="T45" fmla="*/ 30 h 138"/>
                    <a:gd name="T46" fmla="*/ 22 w 138"/>
                    <a:gd name="T47" fmla="*/ 20 h 138"/>
                    <a:gd name="T48" fmla="*/ 32 w 138"/>
                    <a:gd name="T49" fmla="*/ 12 h 138"/>
                    <a:gd name="T50" fmla="*/ 42 w 138"/>
                    <a:gd name="T51" fmla="*/ 6 h 138"/>
                    <a:gd name="T52" fmla="*/ 56 w 138"/>
                    <a:gd name="T53" fmla="*/ 2 h 138"/>
                    <a:gd name="T54" fmla="*/ 70 w 138"/>
                    <a:gd name="T55" fmla="*/ 0 h 138"/>
                    <a:gd name="T56" fmla="*/ 70 w 138"/>
                    <a:gd name="T57" fmla="*/ 0 h 138"/>
                    <a:gd name="T58" fmla="*/ 84 w 138"/>
                    <a:gd name="T59" fmla="*/ 2 h 138"/>
                    <a:gd name="T60" fmla="*/ 96 w 138"/>
                    <a:gd name="T61" fmla="*/ 6 h 138"/>
                    <a:gd name="T62" fmla="*/ 108 w 138"/>
                    <a:gd name="T63" fmla="*/ 12 h 138"/>
                    <a:gd name="T64" fmla="*/ 118 w 138"/>
                    <a:gd name="T65" fmla="*/ 20 h 138"/>
                    <a:gd name="T66" fmla="*/ 126 w 138"/>
                    <a:gd name="T67" fmla="*/ 30 h 138"/>
                    <a:gd name="T68" fmla="*/ 132 w 138"/>
                    <a:gd name="T69" fmla="*/ 42 h 138"/>
                    <a:gd name="T70" fmla="*/ 136 w 138"/>
                    <a:gd name="T71" fmla="*/ 54 h 138"/>
                    <a:gd name="T72" fmla="*/ 138 w 138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8" h="138">
                      <a:moveTo>
                        <a:pt x="138" y="68"/>
                      </a:moveTo>
                      <a:lnTo>
                        <a:pt x="138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6" y="106"/>
                      </a:lnTo>
                      <a:lnTo>
                        <a:pt x="118" y="118"/>
                      </a:lnTo>
                      <a:lnTo>
                        <a:pt x="108" y="126"/>
                      </a:lnTo>
                      <a:lnTo>
                        <a:pt x="96" y="132"/>
                      </a:lnTo>
                      <a:lnTo>
                        <a:pt x="84" y="136"/>
                      </a:lnTo>
                      <a:lnTo>
                        <a:pt x="70" y="138"/>
                      </a:lnTo>
                      <a:lnTo>
                        <a:pt x="70" y="138"/>
                      </a:lnTo>
                      <a:lnTo>
                        <a:pt x="56" y="136"/>
                      </a:lnTo>
                      <a:lnTo>
                        <a:pt x="42" y="132"/>
                      </a:lnTo>
                      <a:lnTo>
                        <a:pt x="32" y="126"/>
                      </a:lnTo>
                      <a:lnTo>
                        <a:pt x="22" y="118"/>
                      </a:lnTo>
                      <a:lnTo>
                        <a:pt x="12" y="106"/>
                      </a:lnTo>
                      <a:lnTo>
                        <a:pt x="6" y="96"/>
                      </a:lnTo>
                      <a:lnTo>
                        <a:pt x="2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2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22" y="20"/>
                      </a:lnTo>
                      <a:lnTo>
                        <a:pt x="32" y="12"/>
                      </a:lnTo>
                      <a:lnTo>
                        <a:pt x="42" y="6"/>
                      </a:lnTo>
                      <a:lnTo>
                        <a:pt x="56" y="2"/>
                      </a:lnTo>
                      <a:lnTo>
                        <a:pt x="70" y="0"/>
                      </a:lnTo>
                      <a:lnTo>
                        <a:pt x="70" y="0"/>
                      </a:lnTo>
                      <a:lnTo>
                        <a:pt x="84" y="2"/>
                      </a:lnTo>
                      <a:lnTo>
                        <a:pt x="96" y="6"/>
                      </a:lnTo>
                      <a:lnTo>
                        <a:pt x="108" y="12"/>
                      </a:lnTo>
                      <a:lnTo>
                        <a:pt x="118" y="20"/>
                      </a:lnTo>
                      <a:lnTo>
                        <a:pt x="126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8" y="6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6" name="Freeform 2438">
                  <a:extLst>
                    <a:ext uri="{FF2B5EF4-FFF2-40B4-BE49-F238E27FC236}">
                      <a16:creationId xmlns:a16="http://schemas.microsoft.com/office/drawing/2014/main" id="{90E85B62-4C7B-4C75-A5F3-5CCB09AF7C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550" y="7885286"/>
                  <a:ext cx="215900" cy="219075"/>
                </a:xfrm>
                <a:custGeom>
                  <a:avLst/>
                  <a:gdLst>
                    <a:gd name="T0" fmla="*/ 136 w 136"/>
                    <a:gd name="T1" fmla="*/ 68 h 138"/>
                    <a:gd name="T2" fmla="*/ 136 w 136"/>
                    <a:gd name="T3" fmla="*/ 68 h 138"/>
                    <a:gd name="T4" fmla="*/ 136 w 136"/>
                    <a:gd name="T5" fmla="*/ 82 h 138"/>
                    <a:gd name="T6" fmla="*/ 132 w 136"/>
                    <a:gd name="T7" fmla="*/ 96 h 138"/>
                    <a:gd name="T8" fmla="*/ 124 w 136"/>
                    <a:gd name="T9" fmla="*/ 106 h 138"/>
                    <a:gd name="T10" fmla="*/ 116 w 136"/>
                    <a:gd name="T11" fmla="*/ 118 h 138"/>
                    <a:gd name="T12" fmla="*/ 106 w 136"/>
                    <a:gd name="T13" fmla="*/ 126 h 138"/>
                    <a:gd name="T14" fmla="*/ 94 w 136"/>
                    <a:gd name="T15" fmla="*/ 132 h 138"/>
                    <a:gd name="T16" fmla="*/ 82 w 136"/>
                    <a:gd name="T17" fmla="*/ 136 h 138"/>
                    <a:gd name="T18" fmla="*/ 68 w 136"/>
                    <a:gd name="T19" fmla="*/ 138 h 138"/>
                    <a:gd name="T20" fmla="*/ 68 w 136"/>
                    <a:gd name="T21" fmla="*/ 138 h 138"/>
                    <a:gd name="T22" fmla="*/ 54 w 136"/>
                    <a:gd name="T23" fmla="*/ 136 h 138"/>
                    <a:gd name="T24" fmla="*/ 42 w 136"/>
                    <a:gd name="T25" fmla="*/ 132 h 138"/>
                    <a:gd name="T26" fmla="*/ 30 w 136"/>
                    <a:gd name="T27" fmla="*/ 126 h 138"/>
                    <a:gd name="T28" fmla="*/ 20 w 136"/>
                    <a:gd name="T29" fmla="*/ 118 h 138"/>
                    <a:gd name="T30" fmla="*/ 12 w 136"/>
                    <a:gd name="T31" fmla="*/ 106 h 138"/>
                    <a:gd name="T32" fmla="*/ 4 w 136"/>
                    <a:gd name="T33" fmla="*/ 96 h 138"/>
                    <a:gd name="T34" fmla="*/ 0 w 136"/>
                    <a:gd name="T35" fmla="*/ 82 h 138"/>
                    <a:gd name="T36" fmla="*/ 0 w 136"/>
                    <a:gd name="T37" fmla="*/ 68 h 138"/>
                    <a:gd name="T38" fmla="*/ 0 w 136"/>
                    <a:gd name="T39" fmla="*/ 68 h 138"/>
                    <a:gd name="T40" fmla="*/ 0 w 136"/>
                    <a:gd name="T41" fmla="*/ 54 h 138"/>
                    <a:gd name="T42" fmla="*/ 4 w 136"/>
                    <a:gd name="T43" fmla="*/ 42 h 138"/>
                    <a:gd name="T44" fmla="*/ 12 w 136"/>
                    <a:gd name="T45" fmla="*/ 30 h 138"/>
                    <a:gd name="T46" fmla="*/ 20 w 136"/>
                    <a:gd name="T47" fmla="*/ 20 h 138"/>
                    <a:gd name="T48" fmla="*/ 30 w 136"/>
                    <a:gd name="T49" fmla="*/ 12 h 138"/>
                    <a:gd name="T50" fmla="*/ 42 w 136"/>
                    <a:gd name="T51" fmla="*/ 6 h 138"/>
                    <a:gd name="T52" fmla="*/ 54 w 136"/>
                    <a:gd name="T53" fmla="*/ 2 h 138"/>
                    <a:gd name="T54" fmla="*/ 68 w 136"/>
                    <a:gd name="T55" fmla="*/ 0 h 138"/>
                    <a:gd name="T56" fmla="*/ 68 w 136"/>
                    <a:gd name="T57" fmla="*/ 0 h 138"/>
                    <a:gd name="T58" fmla="*/ 82 w 136"/>
                    <a:gd name="T59" fmla="*/ 2 h 138"/>
                    <a:gd name="T60" fmla="*/ 94 w 136"/>
                    <a:gd name="T61" fmla="*/ 6 h 138"/>
                    <a:gd name="T62" fmla="*/ 106 w 136"/>
                    <a:gd name="T63" fmla="*/ 12 h 138"/>
                    <a:gd name="T64" fmla="*/ 116 w 136"/>
                    <a:gd name="T65" fmla="*/ 20 h 138"/>
                    <a:gd name="T66" fmla="*/ 124 w 136"/>
                    <a:gd name="T67" fmla="*/ 30 h 138"/>
                    <a:gd name="T68" fmla="*/ 132 w 136"/>
                    <a:gd name="T69" fmla="*/ 42 h 138"/>
                    <a:gd name="T70" fmla="*/ 136 w 136"/>
                    <a:gd name="T71" fmla="*/ 54 h 138"/>
                    <a:gd name="T72" fmla="*/ 136 w 136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6" h="138">
                      <a:moveTo>
                        <a:pt x="136" y="68"/>
                      </a:moveTo>
                      <a:lnTo>
                        <a:pt x="136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4" y="106"/>
                      </a:lnTo>
                      <a:lnTo>
                        <a:pt x="116" y="118"/>
                      </a:lnTo>
                      <a:lnTo>
                        <a:pt x="106" y="126"/>
                      </a:lnTo>
                      <a:lnTo>
                        <a:pt x="94" y="132"/>
                      </a:lnTo>
                      <a:lnTo>
                        <a:pt x="82" y="136"/>
                      </a:lnTo>
                      <a:lnTo>
                        <a:pt x="68" y="138"/>
                      </a:lnTo>
                      <a:lnTo>
                        <a:pt x="68" y="138"/>
                      </a:lnTo>
                      <a:lnTo>
                        <a:pt x="54" y="136"/>
                      </a:lnTo>
                      <a:lnTo>
                        <a:pt x="42" y="132"/>
                      </a:lnTo>
                      <a:lnTo>
                        <a:pt x="30" y="126"/>
                      </a:lnTo>
                      <a:lnTo>
                        <a:pt x="20" y="118"/>
                      </a:lnTo>
                      <a:lnTo>
                        <a:pt x="12" y="106"/>
                      </a:lnTo>
                      <a:lnTo>
                        <a:pt x="4" y="96"/>
                      </a:lnTo>
                      <a:lnTo>
                        <a:pt x="0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54"/>
                      </a:lnTo>
                      <a:lnTo>
                        <a:pt x="4" y="42"/>
                      </a:lnTo>
                      <a:lnTo>
                        <a:pt x="12" y="30"/>
                      </a:lnTo>
                      <a:lnTo>
                        <a:pt x="20" y="20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54" y="2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82" y="2"/>
                      </a:lnTo>
                      <a:lnTo>
                        <a:pt x="94" y="6"/>
                      </a:lnTo>
                      <a:lnTo>
                        <a:pt x="106" y="12"/>
                      </a:lnTo>
                      <a:lnTo>
                        <a:pt x="116" y="20"/>
                      </a:lnTo>
                      <a:lnTo>
                        <a:pt x="124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6" y="68"/>
                      </a:lnTo>
                      <a:close/>
                    </a:path>
                  </a:pathLst>
                </a:cu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7" name="Freeform 2439">
                  <a:extLst>
                    <a:ext uri="{FF2B5EF4-FFF2-40B4-BE49-F238E27FC236}">
                      <a16:creationId xmlns:a16="http://schemas.microsoft.com/office/drawing/2014/main" id="{8BA2F962-9E45-41B6-9480-A2AB45B78F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550" y="7885286"/>
                  <a:ext cx="215900" cy="219075"/>
                </a:xfrm>
                <a:custGeom>
                  <a:avLst/>
                  <a:gdLst>
                    <a:gd name="T0" fmla="*/ 136 w 136"/>
                    <a:gd name="T1" fmla="*/ 68 h 138"/>
                    <a:gd name="T2" fmla="*/ 136 w 136"/>
                    <a:gd name="T3" fmla="*/ 68 h 138"/>
                    <a:gd name="T4" fmla="*/ 136 w 136"/>
                    <a:gd name="T5" fmla="*/ 82 h 138"/>
                    <a:gd name="T6" fmla="*/ 132 w 136"/>
                    <a:gd name="T7" fmla="*/ 96 h 138"/>
                    <a:gd name="T8" fmla="*/ 124 w 136"/>
                    <a:gd name="T9" fmla="*/ 106 h 138"/>
                    <a:gd name="T10" fmla="*/ 116 w 136"/>
                    <a:gd name="T11" fmla="*/ 118 h 138"/>
                    <a:gd name="T12" fmla="*/ 106 w 136"/>
                    <a:gd name="T13" fmla="*/ 126 h 138"/>
                    <a:gd name="T14" fmla="*/ 94 w 136"/>
                    <a:gd name="T15" fmla="*/ 132 h 138"/>
                    <a:gd name="T16" fmla="*/ 82 w 136"/>
                    <a:gd name="T17" fmla="*/ 136 h 138"/>
                    <a:gd name="T18" fmla="*/ 68 w 136"/>
                    <a:gd name="T19" fmla="*/ 138 h 138"/>
                    <a:gd name="T20" fmla="*/ 68 w 136"/>
                    <a:gd name="T21" fmla="*/ 138 h 138"/>
                    <a:gd name="T22" fmla="*/ 54 w 136"/>
                    <a:gd name="T23" fmla="*/ 136 h 138"/>
                    <a:gd name="T24" fmla="*/ 42 w 136"/>
                    <a:gd name="T25" fmla="*/ 132 h 138"/>
                    <a:gd name="T26" fmla="*/ 30 w 136"/>
                    <a:gd name="T27" fmla="*/ 126 h 138"/>
                    <a:gd name="T28" fmla="*/ 20 w 136"/>
                    <a:gd name="T29" fmla="*/ 118 h 138"/>
                    <a:gd name="T30" fmla="*/ 12 w 136"/>
                    <a:gd name="T31" fmla="*/ 106 h 138"/>
                    <a:gd name="T32" fmla="*/ 4 w 136"/>
                    <a:gd name="T33" fmla="*/ 96 h 138"/>
                    <a:gd name="T34" fmla="*/ 0 w 136"/>
                    <a:gd name="T35" fmla="*/ 82 h 138"/>
                    <a:gd name="T36" fmla="*/ 0 w 136"/>
                    <a:gd name="T37" fmla="*/ 68 h 138"/>
                    <a:gd name="T38" fmla="*/ 0 w 136"/>
                    <a:gd name="T39" fmla="*/ 68 h 138"/>
                    <a:gd name="T40" fmla="*/ 0 w 136"/>
                    <a:gd name="T41" fmla="*/ 54 h 138"/>
                    <a:gd name="T42" fmla="*/ 4 w 136"/>
                    <a:gd name="T43" fmla="*/ 42 h 138"/>
                    <a:gd name="T44" fmla="*/ 12 w 136"/>
                    <a:gd name="T45" fmla="*/ 30 h 138"/>
                    <a:gd name="T46" fmla="*/ 20 w 136"/>
                    <a:gd name="T47" fmla="*/ 20 h 138"/>
                    <a:gd name="T48" fmla="*/ 30 w 136"/>
                    <a:gd name="T49" fmla="*/ 12 h 138"/>
                    <a:gd name="T50" fmla="*/ 42 w 136"/>
                    <a:gd name="T51" fmla="*/ 6 h 138"/>
                    <a:gd name="T52" fmla="*/ 54 w 136"/>
                    <a:gd name="T53" fmla="*/ 2 h 138"/>
                    <a:gd name="T54" fmla="*/ 68 w 136"/>
                    <a:gd name="T55" fmla="*/ 0 h 138"/>
                    <a:gd name="T56" fmla="*/ 68 w 136"/>
                    <a:gd name="T57" fmla="*/ 0 h 138"/>
                    <a:gd name="T58" fmla="*/ 82 w 136"/>
                    <a:gd name="T59" fmla="*/ 2 h 138"/>
                    <a:gd name="T60" fmla="*/ 94 w 136"/>
                    <a:gd name="T61" fmla="*/ 6 h 138"/>
                    <a:gd name="T62" fmla="*/ 106 w 136"/>
                    <a:gd name="T63" fmla="*/ 12 h 138"/>
                    <a:gd name="T64" fmla="*/ 116 w 136"/>
                    <a:gd name="T65" fmla="*/ 20 h 138"/>
                    <a:gd name="T66" fmla="*/ 124 w 136"/>
                    <a:gd name="T67" fmla="*/ 30 h 138"/>
                    <a:gd name="T68" fmla="*/ 132 w 136"/>
                    <a:gd name="T69" fmla="*/ 42 h 138"/>
                    <a:gd name="T70" fmla="*/ 136 w 136"/>
                    <a:gd name="T71" fmla="*/ 54 h 138"/>
                    <a:gd name="T72" fmla="*/ 136 w 136"/>
                    <a:gd name="T73" fmla="*/ 68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6" h="138">
                      <a:moveTo>
                        <a:pt x="136" y="68"/>
                      </a:moveTo>
                      <a:lnTo>
                        <a:pt x="136" y="68"/>
                      </a:lnTo>
                      <a:lnTo>
                        <a:pt x="136" y="82"/>
                      </a:lnTo>
                      <a:lnTo>
                        <a:pt x="132" y="96"/>
                      </a:lnTo>
                      <a:lnTo>
                        <a:pt x="124" y="106"/>
                      </a:lnTo>
                      <a:lnTo>
                        <a:pt x="116" y="118"/>
                      </a:lnTo>
                      <a:lnTo>
                        <a:pt x="106" y="126"/>
                      </a:lnTo>
                      <a:lnTo>
                        <a:pt x="94" y="132"/>
                      </a:lnTo>
                      <a:lnTo>
                        <a:pt x="82" y="136"/>
                      </a:lnTo>
                      <a:lnTo>
                        <a:pt x="68" y="138"/>
                      </a:lnTo>
                      <a:lnTo>
                        <a:pt x="68" y="138"/>
                      </a:lnTo>
                      <a:lnTo>
                        <a:pt x="54" y="136"/>
                      </a:lnTo>
                      <a:lnTo>
                        <a:pt x="42" y="132"/>
                      </a:lnTo>
                      <a:lnTo>
                        <a:pt x="30" y="126"/>
                      </a:lnTo>
                      <a:lnTo>
                        <a:pt x="20" y="118"/>
                      </a:lnTo>
                      <a:lnTo>
                        <a:pt x="12" y="106"/>
                      </a:lnTo>
                      <a:lnTo>
                        <a:pt x="4" y="96"/>
                      </a:lnTo>
                      <a:lnTo>
                        <a:pt x="0" y="8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54"/>
                      </a:lnTo>
                      <a:lnTo>
                        <a:pt x="4" y="42"/>
                      </a:lnTo>
                      <a:lnTo>
                        <a:pt x="12" y="30"/>
                      </a:lnTo>
                      <a:lnTo>
                        <a:pt x="20" y="20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54" y="2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82" y="2"/>
                      </a:lnTo>
                      <a:lnTo>
                        <a:pt x="94" y="6"/>
                      </a:lnTo>
                      <a:lnTo>
                        <a:pt x="106" y="12"/>
                      </a:lnTo>
                      <a:lnTo>
                        <a:pt x="116" y="20"/>
                      </a:lnTo>
                      <a:lnTo>
                        <a:pt x="124" y="30"/>
                      </a:lnTo>
                      <a:lnTo>
                        <a:pt x="132" y="42"/>
                      </a:lnTo>
                      <a:lnTo>
                        <a:pt x="136" y="54"/>
                      </a:lnTo>
                      <a:lnTo>
                        <a:pt x="136" y="6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8" name="Freeform 2440">
                  <a:extLst>
                    <a:ext uri="{FF2B5EF4-FFF2-40B4-BE49-F238E27FC236}">
                      <a16:creationId xmlns:a16="http://schemas.microsoft.com/office/drawing/2014/main" id="{BEB9B72F-C8F9-4D52-AA5A-6C259292F6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9600" y="6961361"/>
                  <a:ext cx="1216025" cy="1466850"/>
                </a:xfrm>
                <a:custGeom>
                  <a:avLst/>
                  <a:gdLst>
                    <a:gd name="T0" fmla="*/ 766 w 766"/>
                    <a:gd name="T1" fmla="*/ 462 h 924"/>
                    <a:gd name="T2" fmla="*/ 758 w 766"/>
                    <a:gd name="T3" fmla="*/ 554 h 924"/>
                    <a:gd name="T4" fmla="*/ 736 w 766"/>
                    <a:gd name="T5" fmla="*/ 640 h 924"/>
                    <a:gd name="T6" fmla="*/ 700 w 766"/>
                    <a:gd name="T7" fmla="*/ 720 h 924"/>
                    <a:gd name="T8" fmla="*/ 654 w 766"/>
                    <a:gd name="T9" fmla="*/ 788 h 924"/>
                    <a:gd name="T10" fmla="*/ 596 w 766"/>
                    <a:gd name="T11" fmla="*/ 844 h 924"/>
                    <a:gd name="T12" fmla="*/ 532 w 766"/>
                    <a:gd name="T13" fmla="*/ 886 h 924"/>
                    <a:gd name="T14" fmla="*/ 460 w 766"/>
                    <a:gd name="T15" fmla="*/ 914 h 924"/>
                    <a:gd name="T16" fmla="*/ 402 w 766"/>
                    <a:gd name="T17" fmla="*/ 922 h 924"/>
                    <a:gd name="T18" fmla="*/ 382 w 766"/>
                    <a:gd name="T19" fmla="*/ 924 h 924"/>
                    <a:gd name="T20" fmla="*/ 344 w 766"/>
                    <a:gd name="T21" fmla="*/ 920 h 924"/>
                    <a:gd name="T22" fmla="*/ 268 w 766"/>
                    <a:gd name="T23" fmla="*/ 902 h 924"/>
                    <a:gd name="T24" fmla="*/ 200 w 766"/>
                    <a:gd name="T25" fmla="*/ 868 h 924"/>
                    <a:gd name="T26" fmla="*/ 140 w 766"/>
                    <a:gd name="T27" fmla="*/ 818 h 924"/>
                    <a:gd name="T28" fmla="*/ 88 w 766"/>
                    <a:gd name="T29" fmla="*/ 756 h 924"/>
                    <a:gd name="T30" fmla="*/ 46 w 766"/>
                    <a:gd name="T31" fmla="*/ 682 h 924"/>
                    <a:gd name="T32" fmla="*/ 18 w 766"/>
                    <a:gd name="T33" fmla="*/ 598 h 924"/>
                    <a:gd name="T34" fmla="*/ 2 w 766"/>
                    <a:gd name="T35" fmla="*/ 508 h 924"/>
                    <a:gd name="T36" fmla="*/ 0 w 766"/>
                    <a:gd name="T37" fmla="*/ 462 h 924"/>
                    <a:gd name="T38" fmla="*/ 8 w 766"/>
                    <a:gd name="T39" fmla="*/ 368 h 924"/>
                    <a:gd name="T40" fmla="*/ 30 w 766"/>
                    <a:gd name="T41" fmla="*/ 282 h 924"/>
                    <a:gd name="T42" fmla="*/ 66 w 766"/>
                    <a:gd name="T43" fmla="*/ 202 h 924"/>
                    <a:gd name="T44" fmla="*/ 112 w 766"/>
                    <a:gd name="T45" fmla="*/ 134 h 924"/>
                    <a:gd name="T46" fmla="*/ 168 w 766"/>
                    <a:gd name="T47" fmla="*/ 78 h 924"/>
                    <a:gd name="T48" fmla="*/ 234 w 766"/>
                    <a:gd name="T49" fmla="*/ 36 h 924"/>
                    <a:gd name="T50" fmla="*/ 306 w 766"/>
                    <a:gd name="T51" fmla="*/ 8 h 924"/>
                    <a:gd name="T52" fmla="*/ 364 w 766"/>
                    <a:gd name="T53" fmla="*/ 0 h 924"/>
                    <a:gd name="T54" fmla="*/ 382 w 766"/>
                    <a:gd name="T55" fmla="*/ 0 h 924"/>
                    <a:gd name="T56" fmla="*/ 422 w 766"/>
                    <a:gd name="T57" fmla="*/ 2 h 924"/>
                    <a:gd name="T58" fmla="*/ 496 w 766"/>
                    <a:gd name="T59" fmla="*/ 20 h 924"/>
                    <a:gd name="T60" fmla="*/ 566 w 766"/>
                    <a:gd name="T61" fmla="*/ 54 h 924"/>
                    <a:gd name="T62" fmla="*/ 626 w 766"/>
                    <a:gd name="T63" fmla="*/ 104 h 924"/>
                    <a:gd name="T64" fmla="*/ 678 w 766"/>
                    <a:gd name="T65" fmla="*/ 168 h 924"/>
                    <a:gd name="T66" fmla="*/ 720 w 766"/>
                    <a:gd name="T67" fmla="*/ 240 h 924"/>
                    <a:gd name="T68" fmla="*/ 748 w 766"/>
                    <a:gd name="T69" fmla="*/ 324 h 924"/>
                    <a:gd name="T70" fmla="*/ 764 w 766"/>
                    <a:gd name="T71" fmla="*/ 414 h 9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766" h="924">
                      <a:moveTo>
                        <a:pt x="766" y="462"/>
                      </a:moveTo>
                      <a:lnTo>
                        <a:pt x="766" y="462"/>
                      </a:lnTo>
                      <a:lnTo>
                        <a:pt x="764" y="508"/>
                      </a:lnTo>
                      <a:lnTo>
                        <a:pt x="758" y="554"/>
                      </a:lnTo>
                      <a:lnTo>
                        <a:pt x="748" y="598"/>
                      </a:lnTo>
                      <a:lnTo>
                        <a:pt x="736" y="640"/>
                      </a:lnTo>
                      <a:lnTo>
                        <a:pt x="720" y="682"/>
                      </a:lnTo>
                      <a:lnTo>
                        <a:pt x="700" y="720"/>
                      </a:lnTo>
                      <a:lnTo>
                        <a:pt x="678" y="756"/>
                      </a:lnTo>
                      <a:lnTo>
                        <a:pt x="654" y="788"/>
                      </a:lnTo>
                      <a:lnTo>
                        <a:pt x="626" y="818"/>
                      </a:lnTo>
                      <a:lnTo>
                        <a:pt x="596" y="844"/>
                      </a:lnTo>
                      <a:lnTo>
                        <a:pt x="566" y="868"/>
                      </a:lnTo>
                      <a:lnTo>
                        <a:pt x="532" y="886"/>
                      </a:lnTo>
                      <a:lnTo>
                        <a:pt x="496" y="902"/>
                      </a:lnTo>
                      <a:lnTo>
                        <a:pt x="460" y="914"/>
                      </a:lnTo>
                      <a:lnTo>
                        <a:pt x="422" y="920"/>
                      </a:lnTo>
                      <a:lnTo>
                        <a:pt x="402" y="922"/>
                      </a:lnTo>
                      <a:lnTo>
                        <a:pt x="382" y="924"/>
                      </a:lnTo>
                      <a:lnTo>
                        <a:pt x="382" y="924"/>
                      </a:lnTo>
                      <a:lnTo>
                        <a:pt x="364" y="922"/>
                      </a:lnTo>
                      <a:lnTo>
                        <a:pt x="344" y="920"/>
                      </a:lnTo>
                      <a:lnTo>
                        <a:pt x="306" y="914"/>
                      </a:lnTo>
                      <a:lnTo>
                        <a:pt x="268" y="902"/>
                      </a:lnTo>
                      <a:lnTo>
                        <a:pt x="234" y="886"/>
                      </a:lnTo>
                      <a:lnTo>
                        <a:pt x="200" y="868"/>
                      </a:lnTo>
                      <a:lnTo>
                        <a:pt x="168" y="844"/>
                      </a:lnTo>
                      <a:lnTo>
                        <a:pt x="140" y="818"/>
                      </a:lnTo>
                      <a:lnTo>
                        <a:pt x="112" y="788"/>
                      </a:lnTo>
                      <a:lnTo>
                        <a:pt x="88" y="756"/>
                      </a:lnTo>
                      <a:lnTo>
                        <a:pt x="66" y="720"/>
                      </a:lnTo>
                      <a:lnTo>
                        <a:pt x="46" y="682"/>
                      </a:lnTo>
                      <a:lnTo>
                        <a:pt x="30" y="640"/>
                      </a:lnTo>
                      <a:lnTo>
                        <a:pt x="18" y="598"/>
                      </a:lnTo>
                      <a:lnTo>
                        <a:pt x="8" y="554"/>
                      </a:lnTo>
                      <a:lnTo>
                        <a:pt x="2" y="508"/>
                      </a:lnTo>
                      <a:lnTo>
                        <a:pt x="0" y="462"/>
                      </a:lnTo>
                      <a:lnTo>
                        <a:pt x="0" y="462"/>
                      </a:lnTo>
                      <a:lnTo>
                        <a:pt x="2" y="414"/>
                      </a:lnTo>
                      <a:lnTo>
                        <a:pt x="8" y="368"/>
                      </a:lnTo>
                      <a:lnTo>
                        <a:pt x="18" y="324"/>
                      </a:lnTo>
                      <a:lnTo>
                        <a:pt x="30" y="282"/>
                      </a:lnTo>
                      <a:lnTo>
                        <a:pt x="46" y="240"/>
                      </a:lnTo>
                      <a:lnTo>
                        <a:pt x="66" y="202"/>
                      </a:lnTo>
                      <a:lnTo>
                        <a:pt x="88" y="168"/>
                      </a:lnTo>
                      <a:lnTo>
                        <a:pt x="112" y="134"/>
                      </a:lnTo>
                      <a:lnTo>
                        <a:pt x="140" y="104"/>
                      </a:lnTo>
                      <a:lnTo>
                        <a:pt x="168" y="78"/>
                      </a:lnTo>
                      <a:lnTo>
                        <a:pt x="200" y="54"/>
                      </a:lnTo>
                      <a:lnTo>
                        <a:pt x="234" y="36"/>
                      </a:lnTo>
                      <a:lnTo>
                        <a:pt x="268" y="20"/>
                      </a:lnTo>
                      <a:lnTo>
                        <a:pt x="306" y="8"/>
                      </a:lnTo>
                      <a:lnTo>
                        <a:pt x="344" y="2"/>
                      </a:lnTo>
                      <a:lnTo>
                        <a:pt x="364" y="0"/>
                      </a:lnTo>
                      <a:lnTo>
                        <a:pt x="382" y="0"/>
                      </a:lnTo>
                      <a:lnTo>
                        <a:pt x="382" y="0"/>
                      </a:lnTo>
                      <a:lnTo>
                        <a:pt x="402" y="0"/>
                      </a:lnTo>
                      <a:lnTo>
                        <a:pt x="422" y="2"/>
                      </a:lnTo>
                      <a:lnTo>
                        <a:pt x="460" y="8"/>
                      </a:lnTo>
                      <a:lnTo>
                        <a:pt x="496" y="20"/>
                      </a:lnTo>
                      <a:lnTo>
                        <a:pt x="532" y="36"/>
                      </a:lnTo>
                      <a:lnTo>
                        <a:pt x="566" y="54"/>
                      </a:lnTo>
                      <a:lnTo>
                        <a:pt x="596" y="78"/>
                      </a:lnTo>
                      <a:lnTo>
                        <a:pt x="626" y="104"/>
                      </a:lnTo>
                      <a:lnTo>
                        <a:pt x="654" y="134"/>
                      </a:lnTo>
                      <a:lnTo>
                        <a:pt x="678" y="168"/>
                      </a:lnTo>
                      <a:lnTo>
                        <a:pt x="700" y="202"/>
                      </a:lnTo>
                      <a:lnTo>
                        <a:pt x="720" y="240"/>
                      </a:lnTo>
                      <a:lnTo>
                        <a:pt x="736" y="282"/>
                      </a:lnTo>
                      <a:lnTo>
                        <a:pt x="748" y="324"/>
                      </a:lnTo>
                      <a:lnTo>
                        <a:pt x="758" y="368"/>
                      </a:lnTo>
                      <a:lnTo>
                        <a:pt x="764" y="414"/>
                      </a:lnTo>
                      <a:lnTo>
                        <a:pt x="766" y="462"/>
                      </a:lnTo>
                      <a:close/>
                    </a:path>
                  </a:pathLst>
                </a:custGeom>
                <a:solidFill>
                  <a:srgbClr val="FFE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9" name="Freeform 2441">
                  <a:extLst>
                    <a:ext uri="{FF2B5EF4-FFF2-40B4-BE49-F238E27FC236}">
                      <a16:creationId xmlns:a16="http://schemas.microsoft.com/office/drawing/2014/main" id="{6BF7B160-C0EE-40DA-9418-61E7C9E569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9600" y="6961361"/>
                  <a:ext cx="1216025" cy="1466850"/>
                </a:xfrm>
                <a:custGeom>
                  <a:avLst/>
                  <a:gdLst>
                    <a:gd name="T0" fmla="*/ 766 w 766"/>
                    <a:gd name="T1" fmla="*/ 462 h 924"/>
                    <a:gd name="T2" fmla="*/ 758 w 766"/>
                    <a:gd name="T3" fmla="*/ 554 h 924"/>
                    <a:gd name="T4" fmla="*/ 736 w 766"/>
                    <a:gd name="T5" fmla="*/ 640 h 924"/>
                    <a:gd name="T6" fmla="*/ 700 w 766"/>
                    <a:gd name="T7" fmla="*/ 720 h 924"/>
                    <a:gd name="T8" fmla="*/ 654 w 766"/>
                    <a:gd name="T9" fmla="*/ 788 h 924"/>
                    <a:gd name="T10" fmla="*/ 596 w 766"/>
                    <a:gd name="T11" fmla="*/ 844 h 924"/>
                    <a:gd name="T12" fmla="*/ 532 w 766"/>
                    <a:gd name="T13" fmla="*/ 886 h 924"/>
                    <a:gd name="T14" fmla="*/ 460 w 766"/>
                    <a:gd name="T15" fmla="*/ 914 h 924"/>
                    <a:gd name="T16" fmla="*/ 402 w 766"/>
                    <a:gd name="T17" fmla="*/ 922 h 924"/>
                    <a:gd name="T18" fmla="*/ 382 w 766"/>
                    <a:gd name="T19" fmla="*/ 924 h 924"/>
                    <a:gd name="T20" fmla="*/ 344 w 766"/>
                    <a:gd name="T21" fmla="*/ 920 h 924"/>
                    <a:gd name="T22" fmla="*/ 268 w 766"/>
                    <a:gd name="T23" fmla="*/ 902 h 924"/>
                    <a:gd name="T24" fmla="*/ 200 w 766"/>
                    <a:gd name="T25" fmla="*/ 868 h 924"/>
                    <a:gd name="T26" fmla="*/ 140 w 766"/>
                    <a:gd name="T27" fmla="*/ 818 h 924"/>
                    <a:gd name="T28" fmla="*/ 88 w 766"/>
                    <a:gd name="T29" fmla="*/ 756 h 924"/>
                    <a:gd name="T30" fmla="*/ 46 w 766"/>
                    <a:gd name="T31" fmla="*/ 682 h 924"/>
                    <a:gd name="T32" fmla="*/ 18 w 766"/>
                    <a:gd name="T33" fmla="*/ 598 h 924"/>
                    <a:gd name="T34" fmla="*/ 2 w 766"/>
                    <a:gd name="T35" fmla="*/ 508 h 924"/>
                    <a:gd name="T36" fmla="*/ 0 w 766"/>
                    <a:gd name="T37" fmla="*/ 462 h 924"/>
                    <a:gd name="T38" fmla="*/ 8 w 766"/>
                    <a:gd name="T39" fmla="*/ 368 h 924"/>
                    <a:gd name="T40" fmla="*/ 30 w 766"/>
                    <a:gd name="T41" fmla="*/ 282 h 924"/>
                    <a:gd name="T42" fmla="*/ 66 w 766"/>
                    <a:gd name="T43" fmla="*/ 202 h 924"/>
                    <a:gd name="T44" fmla="*/ 112 w 766"/>
                    <a:gd name="T45" fmla="*/ 134 h 924"/>
                    <a:gd name="T46" fmla="*/ 168 w 766"/>
                    <a:gd name="T47" fmla="*/ 78 h 924"/>
                    <a:gd name="T48" fmla="*/ 234 w 766"/>
                    <a:gd name="T49" fmla="*/ 36 h 924"/>
                    <a:gd name="T50" fmla="*/ 306 w 766"/>
                    <a:gd name="T51" fmla="*/ 8 h 924"/>
                    <a:gd name="T52" fmla="*/ 364 w 766"/>
                    <a:gd name="T53" fmla="*/ 0 h 924"/>
                    <a:gd name="T54" fmla="*/ 382 w 766"/>
                    <a:gd name="T55" fmla="*/ 0 h 924"/>
                    <a:gd name="T56" fmla="*/ 422 w 766"/>
                    <a:gd name="T57" fmla="*/ 2 h 924"/>
                    <a:gd name="T58" fmla="*/ 496 w 766"/>
                    <a:gd name="T59" fmla="*/ 20 h 924"/>
                    <a:gd name="T60" fmla="*/ 566 w 766"/>
                    <a:gd name="T61" fmla="*/ 54 h 924"/>
                    <a:gd name="T62" fmla="*/ 626 w 766"/>
                    <a:gd name="T63" fmla="*/ 104 h 924"/>
                    <a:gd name="T64" fmla="*/ 678 w 766"/>
                    <a:gd name="T65" fmla="*/ 168 h 924"/>
                    <a:gd name="T66" fmla="*/ 720 w 766"/>
                    <a:gd name="T67" fmla="*/ 240 h 924"/>
                    <a:gd name="T68" fmla="*/ 748 w 766"/>
                    <a:gd name="T69" fmla="*/ 324 h 924"/>
                    <a:gd name="T70" fmla="*/ 764 w 766"/>
                    <a:gd name="T71" fmla="*/ 414 h 9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766" h="924">
                      <a:moveTo>
                        <a:pt x="766" y="462"/>
                      </a:moveTo>
                      <a:lnTo>
                        <a:pt x="766" y="462"/>
                      </a:lnTo>
                      <a:lnTo>
                        <a:pt x="764" y="508"/>
                      </a:lnTo>
                      <a:lnTo>
                        <a:pt x="758" y="554"/>
                      </a:lnTo>
                      <a:lnTo>
                        <a:pt x="748" y="598"/>
                      </a:lnTo>
                      <a:lnTo>
                        <a:pt x="736" y="640"/>
                      </a:lnTo>
                      <a:lnTo>
                        <a:pt x="720" y="682"/>
                      </a:lnTo>
                      <a:lnTo>
                        <a:pt x="700" y="720"/>
                      </a:lnTo>
                      <a:lnTo>
                        <a:pt x="678" y="756"/>
                      </a:lnTo>
                      <a:lnTo>
                        <a:pt x="654" y="788"/>
                      </a:lnTo>
                      <a:lnTo>
                        <a:pt x="626" y="818"/>
                      </a:lnTo>
                      <a:lnTo>
                        <a:pt x="596" y="844"/>
                      </a:lnTo>
                      <a:lnTo>
                        <a:pt x="566" y="868"/>
                      </a:lnTo>
                      <a:lnTo>
                        <a:pt x="532" y="886"/>
                      </a:lnTo>
                      <a:lnTo>
                        <a:pt x="496" y="902"/>
                      </a:lnTo>
                      <a:lnTo>
                        <a:pt x="460" y="914"/>
                      </a:lnTo>
                      <a:lnTo>
                        <a:pt x="422" y="920"/>
                      </a:lnTo>
                      <a:lnTo>
                        <a:pt x="402" y="922"/>
                      </a:lnTo>
                      <a:lnTo>
                        <a:pt x="382" y="924"/>
                      </a:lnTo>
                      <a:lnTo>
                        <a:pt x="382" y="924"/>
                      </a:lnTo>
                      <a:lnTo>
                        <a:pt x="364" y="922"/>
                      </a:lnTo>
                      <a:lnTo>
                        <a:pt x="344" y="920"/>
                      </a:lnTo>
                      <a:lnTo>
                        <a:pt x="306" y="914"/>
                      </a:lnTo>
                      <a:lnTo>
                        <a:pt x="268" y="902"/>
                      </a:lnTo>
                      <a:lnTo>
                        <a:pt x="234" y="886"/>
                      </a:lnTo>
                      <a:lnTo>
                        <a:pt x="200" y="868"/>
                      </a:lnTo>
                      <a:lnTo>
                        <a:pt x="168" y="844"/>
                      </a:lnTo>
                      <a:lnTo>
                        <a:pt x="140" y="818"/>
                      </a:lnTo>
                      <a:lnTo>
                        <a:pt x="112" y="788"/>
                      </a:lnTo>
                      <a:lnTo>
                        <a:pt x="88" y="756"/>
                      </a:lnTo>
                      <a:lnTo>
                        <a:pt x="66" y="720"/>
                      </a:lnTo>
                      <a:lnTo>
                        <a:pt x="46" y="682"/>
                      </a:lnTo>
                      <a:lnTo>
                        <a:pt x="30" y="640"/>
                      </a:lnTo>
                      <a:lnTo>
                        <a:pt x="18" y="598"/>
                      </a:lnTo>
                      <a:lnTo>
                        <a:pt x="8" y="554"/>
                      </a:lnTo>
                      <a:lnTo>
                        <a:pt x="2" y="508"/>
                      </a:lnTo>
                      <a:lnTo>
                        <a:pt x="0" y="462"/>
                      </a:lnTo>
                      <a:lnTo>
                        <a:pt x="0" y="462"/>
                      </a:lnTo>
                      <a:lnTo>
                        <a:pt x="2" y="414"/>
                      </a:lnTo>
                      <a:lnTo>
                        <a:pt x="8" y="368"/>
                      </a:lnTo>
                      <a:lnTo>
                        <a:pt x="18" y="324"/>
                      </a:lnTo>
                      <a:lnTo>
                        <a:pt x="30" y="282"/>
                      </a:lnTo>
                      <a:lnTo>
                        <a:pt x="46" y="240"/>
                      </a:lnTo>
                      <a:lnTo>
                        <a:pt x="66" y="202"/>
                      </a:lnTo>
                      <a:lnTo>
                        <a:pt x="88" y="168"/>
                      </a:lnTo>
                      <a:lnTo>
                        <a:pt x="112" y="134"/>
                      </a:lnTo>
                      <a:lnTo>
                        <a:pt x="140" y="104"/>
                      </a:lnTo>
                      <a:lnTo>
                        <a:pt x="168" y="78"/>
                      </a:lnTo>
                      <a:lnTo>
                        <a:pt x="200" y="54"/>
                      </a:lnTo>
                      <a:lnTo>
                        <a:pt x="234" y="36"/>
                      </a:lnTo>
                      <a:lnTo>
                        <a:pt x="268" y="20"/>
                      </a:lnTo>
                      <a:lnTo>
                        <a:pt x="306" y="8"/>
                      </a:lnTo>
                      <a:lnTo>
                        <a:pt x="344" y="2"/>
                      </a:lnTo>
                      <a:lnTo>
                        <a:pt x="364" y="0"/>
                      </a:lnTo>
                      <a:lnTo>
                        <a:pt x="382" y="0"/>
                      </a:lnTo>
                      <a:lnTo>
                        <a:pt x="382" y="0"/>
                      </a:lnTo>
                      <a:lnTo>
                        <a:pt x="402" y="0"/>
                      </a:lnTo>
                      <a:lnTo>
                        <a:pt x="422" y="2"/>
                      </a:lnTo>
                      <a:lnTo>
                        <a:pt x="460" y="8"/>
                      </a:lnTo>
                      <a:lnTo>
                        <a:pt x="496" y="20"/>
                      </a:lnTo>
                      <a:lnTo>
                        <a:pt x="532" y="36"/>
                      </a:lnTo>
                      <a:lnTo>
                        <a:pt x="566" y="54"/>
                      </a:lnTo>
                      <a:lnTo>
                        <a:pt x="596" y="78"/>
                      </a:lnTo>
                      <a:lnTo>
                        <a:pt x="626" y="104"/>
                      </a:lnTo>
                      <a:lnTo>
                        <a:pt x="654" y="134"/>
                      </a:lnTo>
                      <a:lnTo>
                        <a:pt x="678" y="168"/>
                      </a:lnTo>
                      <a:lnTo>
                        <a:pt x="700" y="202"/>
                      </a:lnTo>
                      <a:lnTo>
                        <a:pt x="720" y="240"/>
                      </a:lnTo>
                      <a:lnTo>
                        <a:pt x="736" y="282"/>
                      </a:lnTo>
                      <a:lnTo>
                        <a:pt x="748" y="324"/>
                      </a:lnTo>
                      <a:lnTo>
                        <a:pt x="758" y="368"/>
                      </a:lnTo>
                      <a:lnTo>
                        <a:pt x="764" y="414"/>
                      </a:lnTo>
                      <a:lnTo>
                        <a:pt x="766" y="462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0" name="Freeform 2442">
                  <a:extLst>
                    <a:ext uri="{FF2B5EF4-FFF2-40B4-BE49-F238E27FC236}">
                      <a16:creationId xmlns:a16="http://schemas.microsoft.com/office/drawing/2014/main" id="{CDF9C389-9C0F-43A9-8935-A410D579FC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1200" y="7316961"/>
                  <a:ext cx="1012825" cy="1228725"/>
                </a:xfrm>
                <a:custGeom>
                  <a:avLst/>
                  <a:gdLst>
                    <a:gd name="T0" fmla="*/ 4 w 638"/>
                    <a:gd name="T1" fmla="*/ 480 h 774"/>
                    <a:gd name="T2" fmla="*/ 4 w 638"/>
                    <a:gd name="T3" fmla="*/ 480 h 774"/>
                    <a:gd name="T4" fmla="*/ 10 w 638"/>
                    <a:gd name="T5" fmla="*/ 510 h 774"/>
                    <a:gd name="T6" fmla="*/ 18 w 638"/>
                    <a:gd name="T7" fmla="*/ 538 h 774"/>
                    <a:gd name="T8" fmla="*/ 30 w 638"/>
                    <a:gd name="T9" fmla="*/ 566 h 774"/>
                    <a:gd name="T10" fmla="*/ 44 w 638"/>
                    <a:gd name="T11" fmla="*/ 594 h 774"/>
                    <a:gd name="T12" fmla="*/ 60 w 638"/>
                    <a:gd name="T13" fmla="*/ 620 h 774"/>
                    <a:gd name="T14" fmla="*/ 78 w 638"/>
                    <a:gd name="T15" fmla="*/ 644 h 774"/>
                    <a:gd name="T16" fmla="*/ 96 w 638"/>
                    <a:gd name="T17" fmla="*/ 666 h 774"/>
                    <a:gd name="T18" fmla="*/ 118 w 638"/>
                    <a:gd name="T19" fmla="*/ 686 h 774"/>
                    <a:gd name="T20" fmla="*/ 140 w 638"/>
                    <a:gd name="T21" fmla="*/ 706 h 774"/>
                    <a:gd name="T22" fmla="*/ 164 w 638"/>
                    <a:gd name="T23" fmla="*/ 724 h 774"/>
                    <a:gd name="T24" fmla="*/ 188 w 638"/>
                    <a:gd name="T25" fmla="*/ 738 h 774"/>
                    <a:gd name="T26" fmla="*/ 214 w 638"/>
                    <a:gd name="T27" fmla="*/ 750 h 774"/>
                    <a:gd name="T28" fmla="*/ 240 w 638"/>
                    <a:gd name="T29" fmla="*/ 760 h 774"/>
                    <a:gd name="T30" fmla="*/ 266 w 638"/>
                    <a:gd name="T31" fmla="*/ 768 h 774"/>
                    <a:gd name="T32" fmla="*/ 294 w 638"/>
                    <a:gd name="T33" fmla="*/ 772 h 774"/>
                    <a:gd name="T34" fmla="*/ 320 w 638"/>
                    <a:gd name="T35" fmla="*/ 774 h 774"/>
                    <a:gd name="T36" fmla="*/ 320 w 638"/>
                    <a:gd name="T37" fmla="*/ 774 h 774"/>
                    <a:gd name="T38" fmla="*/ 348 w 638"/>
                    <a:gd name="T39" fmla="*/ 772 h 774"/>
                    <a:gd name="T40" fmla="*/ 374 w 638"/>
                    <a:gd name="T41" fmla="*/ 768 h 774"/>
                    <a:gd name="T42" fmla="*/ 400 w 638"/>
                    <a:gd name="T43" fmla="*/ 762 h 774"/>
                    <a:gd name="T44" fmla="*/ 426 w 638"/>
                    <a:gd name="T45" fmla="*/ 752 h 774"/>
                    <a:gd name="T46" fmla="*/ 450 w 638"/>
                    <a:gd name="T47" fmla="*/ 742 h 774"/>
                    <a:gd name="T48" fmla="*/ 474 w 638"/>
                    <a:gd name="T49" fmla="*/ 728 h 774"/>
                    <a:gd name="T50" fmla="*/ 498 w 638"/>
                    <a:gd name="T51" fmla="*/ 712 h 774"/>
                    <a:gd name="T52" fmla="*/ 520 w 638"/>
                    <a:gd name="T53" fmla="*/ 694 h 774"/>
                    <a:gd name="T54" fmla="*/ 542 w 638"/>
                    <a:gd name="T55" fmla="*/ 672 h 774"/>
                    <a:gd name="T56" fmla="*/ 560 w 638"/>
                    <a:gd name="T57" fmla="*/ 650 h 774"/>
                    <a:gd name="T58" fmla="*/ 578 w 638"/>
                    <a:gd name="T59" fmla="*/ 626 h 774"/>
                    <a:gd name="T60" fmla="*/ 594 w 638"/>
                    <a:gd name="T61" fmla="*/ 600 h 774"/>
                    <a:gd name="T62" fmla="*/ 608 w 638"/>
                    <a:gd name="T63" fmla="*/ 574 h 774"/>
                    <a:gd name="T64" fmla="*/ 620 w 638"/>
                    <a:gd name="T65" fmla="*/ 544 h 774"/>
                    <a:gd name="T66" fmla="*/ 630 w 638"/>
                    <a:gd name="T67" fmla="*/ 514 h 774"/>
                    <a:gd name="T68" fmla="*/ 638 w 638"/>
                    <a:gd name="T69" fmla="*/ 482 h 774"/>
                    <a:gd name="T70" fmla="*/ 638 w 638"/>
                    <a:gd name="T71" fmla="*/ 62 h 774"/>
                    <a:gd name="T72" fmla="*/ 638 w 638"/>
                    <a:gd name="T73" fmla="*/ 62 h 774"/>
                    <a:gd name="T74" fmla="*/ 604 w 638"/>
                    <a:gd name="T75" fmla="*/ 52 h 774"/>
                    <a:gd name="T76" fmla="*/ 520 w 638"/>
                    <a:gd name="T77" fmla="*/ 32 h 774"/>
                    <a:gd name="T78" fmla="*/ 470 w 638"/>
                    <a:gd name="T79" fmla="*/ 20 h 774"/>
                    <a:gd name="T80" fmla="*/ 418 w 638"/>
                    <a:gd name="T81" fmla="*/ 10 h 774"/>
                    <a:gd name="T82" fmla="*/ 368 w 638"/>
                    <a:gd name="T83" fmla="*/ 2 h 774"/>
                    <a:gd name="T84" fmla="*/ 344 w 638"/>
                    <a:gd name="T85" fmla="*/ 0 h 774"/>
                    <a:gd name="T86" fmla="*/ 324 w 638"/>
                    <a:gd name="T87" fmla="*/ 0 h 774"/>
                    <a:gd name="T88" fmla="*/ 324 w 638"/>
                    <a:gd name="T89" fmla="*/ 0 h 774"/>
                    <a:gd name="T90" fmla="*/ 288 w 638"/>
                    <a:gd name="T91" fmla="*/ 0 h 774"/>
                    <a:gd name="T92" fmla="*/ 254 w 638"/>
                    <a:gd name="T93" fmla="*/ 2 h 774"/>
                    <a:gd name="T94" fmla="*/ 190 w 638"/>
                    <a:gd name="T95" fmla="*/ 10 h 774"/>
                    <a:gd name="T96" fmla="*/ 136 w 638"/>
                    <a:gd name="T97" fmla="*/ 20 h 774"/>
                    <a:gd name="T98" fmla="*/ 88 w 638"/>
                    <a:gd name="T99" fmla="*/ 32 h 774"/>
                    <a:gd name="T100" fmla="*/ 50 w 638"/>
                    <a:gd name="T101" fmla="*/ 42 h 774"/>
                    <a:gd name="T102" fmla="*/ 22 w 638"/>
                    <a:gd name="T103" fmla="*/ 52 h 774"/>
                    <a:gd name="T104" fmla="*/ 0 w 638"/>
                    <a:gd name="T105" fmla="*/ 62 h 774"/>
                    <a:gd name="T106" fmla="*/ 4 w 638"/>
                    <a:gd name="T107" fmla="*/ 480 h 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8" h="774">
                      <a:moveTo>
                        <a:pt x="4" y="480"/>
                      </a:moveTo>
                      <a:lnTo>
                        <a:pt x="4" y="480"/>
                      </a:lnTo>
                      <a:lnTo>
                        <a:pt x="10" y="510"/>
                      </a:lnTo>
                      <a:lnTo>
                        <a:pt x="18" y="538"/>
                      </a:lnTo>
                      <a:lnTo>
                        <a:pt x="30" y="566"/>
                      </a:lnTo>
                      <a:lnTo>
                        <a:pt x="44" y="594"/>
                      </a:lnTo>
                      <a:lnTo>
                        <a:pt x="60" y="620"/>
                      </a:lnTo>
                      <a:lnTo>
                        <a:pt x="78" y="644"/>
                      </a:lnTo>
                      <a:lnTo>
                        <a:pt x="96" y="666"/>
                      </a:lnTo>
                      <a:lnTo>
                        <a:pt x="118" y="686"/>
                      </a:lnTo>
                      <a:lnTo>
                        <a:pt x="140" y="706"/>
                      </a:lnTo>
                      <a:lnTo>
                        <a:pt x="164" y="724"/>
                      </a:lnTo>
                      <a:lnTo>
                        <a:pt x="188" y="738"/>
                      </a:lnTo>
                      <a:lnTo>
                        <a:pt x="214" y="750"/>
                      </a:lnTo>
                      <a:lnTo>
                        <a:pt x="240" y="760"/>
                      </a:lnTo>
                      <a:lnTo>
                        <a:pt x="266" y="768"/>
                      </a:lnTo>
                      <a:lnTo>
                        <a:pt x="294" y="772"/>
                      </a:lnTo>
                      <a:lnTo>
                        <a:pt x="320" y="774"/>
                      </a:lnTo>
                      <a:lnTo>
                        <a:pt x="320" y="774"/>
                      </a:lnTo>
                      <a:lnTo>
                        <a:pt x="348" y="772"/>
                      </a:lnTo>
                      <a:lnTo>
                        <a:pt x="374" y="768"/>
                      </a:lnTo>
                      <a:lnTo>
                        <a:pt x="400" y="762"/>
                      </a:lnTo>
                      <a:lnTo>
                        <a:pt x="426" y="752"/>
                      </a:lnTo>
                      <a:lnTo>
                        <a:pt x="450" y="742"/>
                      </a:lnTo>
                      <a:lnTo>
                        <a:pt x="474" y="728"/>
                      </a:lnTo>
                      <a:lnTo>
                        <a:pt x="498" y="712"/>
                      </a:lnTo>
                      <a:lnTo>
                        <a:pt x="520" y="694"/>
                      </a:lnTo>
                      <a:lnTo>
                        <a:pt x="542" y="672"/>
                      </a:lnTo>
                      <a:lnTo>
                        <a:pt x="560" y="650"/>
                      </a:lnTo>
                      <a:lnTo>
                        <a:pt x="578" y="626"/>
                      </a:lnTo>
                      <a:lnTo>
                        <a:pt x="594" y="600"/>
                      </a:lnTo>
                      <a:lnTo>
                        <a:pt x="608" y="574"/>
                      </a:lnTo>
                      <a:lnTo>
                        <a:pt x="620" y="544"/>
                      </a:lnTo>
                      <a:lnTo>
                        <a:pt x="630" y="514"/>
                      </a:lnTo>
                      <a:lnTo>
                        <a:pt x="638" y="482"/>
                      </a:lnTo>
                      <a:lnTo>
                        <a:pt x="638" y="62"/>
                      </a:lnTo>
                      <a:lnTo>
                        <a:pt x="638" y="62"/>
                      </a:lnTo>
                      <a:lnTo>
                        <a:pt x="604" y="52"/>
                      </a:lnTo>
                      <a:lnTo>
                        <a:pt x="520" y="32"/>
                      </a:lnTo>
                      <a:lnTo>
                        <a:pt x="470" y="20"/>
                      </a:lnTo>
                      <a:lnTo>
                        <a:pt x="418" y="10"/>
                      </a:lnTo>
                      <a:lnTo>
                        <a:pt x="368" y="2"/>
                      </a:lnTo>
                      <a:lnTo>
                        <a:pt x="344" y="0"/>
                      </a:lnTo>
                      <a:lnTo>
                        <a:pt x="324" y="0"/>
                      </a:lnTo>
                      <a:lnTo>
                        <a:pt x="324" y="0"/>
                      </a:lnTo>
                      <a:lnTo>
                        <a:pt x="288" y="0"/>
                      </a:lnTo>
                      <a:lnTo>
                        <a:pt x="254" y="2"/>
                      </a:lnTo>
                      <a:lnTo>
                        <a:pt x="190" y="10"/>
                      </a:lnTo>
                      <a:lnTo>
                        <a:pt x="136" y="20"/>
                      </a:lnTo>
                      <a:lnTo>
                        <a:pt x="88" y="32"/>
                      </a:lnTo>
                      <a:lnTo>
                        <a:pt x="50" y="42"/>
                      </a:lnTo>
                      <a:lnTo>
                        <a:pt x="22" y="52"/>
                      </a:lnTo>
                      <a:lnTo>
                        <a:pt x="0" y="62"/>
                      </a:lnTo>
                      <a:lnTo>
                        <a:pt x="4" y="480"/>
                      </a:lnTo>
                      <a:close/>
                    </a:path>
                  </a:pathLst>
                </a:custGeom>
                <a:solidFill>
                  <a:srgbClr val="DD9C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1" name="Freeform 2443">
                  <a:extLst>
                    <a:ext uri="{FF2B5EF4-FFF2-40B4-BE49-F238E27FC236}">
                      <a16:creationId xmlns:a16="http://schemas.microsoft.com/office/drawing/2014/main" id="{19350619-2A2C-4D01-83B8-2DFC9D01DA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1200" y="7316961"/>
                  <a:ext cx="1012825" cy="1228725"/>
                </a:xfrm>
                <a:custGeom>
                  <a:avLst/>
                  <a:gdLst>
                    <a:gd name="T0" fmla="*/ 4 w 638"/>
                    <a:gd name="T1" fmla="*/ 480 h 774"/>
                    <a:gd name="T2" fmla="*/ 4 w 638"/>
                    <a:gd name="T3" fmla="*/ 480 h 774"/>
                    <a:gd name="T4" fmla="*/ 10 w 638"/>
                    <a:gd name="T5" fmla="*/ 510 h 774"/>
                    <a:gd name="T6" fmla="*/ 18 w 638"/>
                    <a:gd name="T7" fmla="*/ 538 h 774"/>
                    <a:gd name="T8" fmla="*/ 30 w 638"/>
                    <a:gd name="T9" fmla="*/ 566 h 774"/>
                    <a:gd name="T10" fmla="*/ 44 w 638"/>
                    <a:gd name="T11" fmla="*/ 594 h 774"/>
                    <a:gd name="T12" fmla="*/ 60 w 638"/>
                    <a:gd name="T13" fmla="*/ 620 h 774"/>
                    <a:gd name="T14" fmla="*/ 78 w 638"/>
                    <a:gd name="T15" fmla="*/ 644 h 774"/>
                    <a:gd name="T16" fmla="*/ 96 w 638"/>
                    <a:gd name="T17" fmla="*/ 666 h 774"/>
                    <a:gd name="T18" fmla="*/ 118 w 638"/>
                    <a:gd name="T19" fmla="*/ 686 h 774"/>
                    <a:gd name="T20" fmla="*/ 140 w 638"/>
                    <a:gd name="T21" fmla="*/ 706 h 774"/>
                    <a:gd name="T22" fmla="*/ 164 w 638"/>
                    <a:gd name="T23" fmla="*/ 724 h 774"/>
                    <a:gd name="T24" fmla="*/ 188 w 638"/>
                    <a:gd name="T25" fmla="*/ 738 h 774"/>
                    <a:gd name="T26" fmla="*/ 214 w 638"/>
                    <a:gd name="T27" fmla="*/ 750 h 774"/>
                    <a:gd name="T28" fmla="*/ 240 w 638"/>
                    <a:gd name="T29" fmla="*/ 760 h 774"/>
                    <a:gd name="T30" fmla="*/ 266 w 638"/>
                    <a:gd name="T31" fmla="*/ 768 h 774"/>
                    <a:gd name="T32" fmla="*/ 294 w 638"/>
                    <a:gd name="T33" fmla="*/ 772 h 774"/>
                    <a:gd name="T34" fmla="*/ 320 w 638"/>
                    <a:gd name="T35" fmla="*/ 774 h 774"/>
                    <a:gd name="T36" fmla="*/ 320 w 638"/>
                    <a:gd name="T37" fmla="*/ 774 h 774"/>
                    <a:gd name="T38" fmla="*/ 348 w 638"/>
                    <a:gd name="T39" fmla="*/ 772 h 774"/>
                    <a:gd name="T40" fmla="*/ 374 w 638"/>
                    <a:gd name="T41" fmla="*/ 768 h 774"/>
                    <a:gd name="T42" fmla="*/ 400 w 638"/>
                    <a:gd name="T43" fmla="*/ 762 h 774"/>
                    <a:gd name="T44" fmla="*/ 426 w 638"/>
                    <a:gd name="T45" fmla="*/ 752 h 774"/>
                    <a:gd name="T46" fmla="*/ 450 w 638"/>
                    <a:gd name="T47" fmla="*/ 742 h 774"/>
                    <a:gd name="T48" fmla="*/ 474 w 638"/>
                    <a:gd name="T49" fmla="*/ 728 h 774"/>
                    <a:gd name="T50" fmla="*/ 498 w 638"/>
                    <a:gd name="T51" fmla="*/ 712 h 774"/>
                    <a:gd name="T52" fmla="*/ 520 w 638"/>
                    <a:gd name="T53" fmla="*/ 694 h 774"/>
                    <a:gd name="T54" fmla="*/ 542 w 638"/>
                    <a:gd name="T55" fmla="*/ 672 h 774"/>
                    <a:gd name="T56" fmla="*/ 560 w 638"/>
                    <a:gd name="T57" fmla="*/ 650 h 774"/>
                    <a:gd name="T58" fmla="*/ 578 w 638"/>
                    <a:gd name="T59" fmla="*/ 626 h 774"/>
                    <a:gd name="T60" fmla="*/ 594 w 638"/>
                    <a:gd name="T61" fmla="*/ 600 h 774"/>
                    <a:gd name="T62" fmla="*/ 608 w 638"/>
                    <a:gd name="T63" fmla="*/ 574 h 774"/>
                    <a:gd name="T64" fmla="*/ 620 w 638"/>
                    <a:gd name="T65" fmla="*/ 544 h 774"/>
                    <a:gd name="T66" fmla="*/ 630 w 638"/>
                    <a:gd name="T67" fmla="*/ 514 h 774"/>
                    <a:gd name="T68" fmla="*/ 638 w 638"/>
                    <a:gd name="T69" fmla="*/ 482 h 774"/>
                    <a:gd name="T70" fmla="*/ 638 w 638"/>
                    <a:gd name="T71" fmla="*/ 62 h 774"/>
                    <a:gd name="T72" fmla="*/ 638 w 638"/>
                    <a:gd name="T73" fmla="*/ 62 h 774"/>
                    <a:gd name="T74" fmla="*/ 604 w 638"/>
                    <a:gd name="T75" fmla="*/ 52 h 774"/>
                    <a:gd name="T76" fmla="*/ 520 w 638"/>
                    <a:gd name="T77" fmla="*/ 32 h 774"/>
                    <a:gd name="T78" fmla="*/ 470 w 638"/>
                    <a:gd name="T79" fmla="*/ 20 h 774"/>
                    <a:gd name="T80" fmla="*/ 418 w 638"/>
                    <a:gd name="T81" fmla="*/ 10 h 774"/>
                    <a:gd name="T82" fmla="*/ 368 w 638"/>
                    <a:gd name="T83" fmla="*/ 2 h 774"/>
                    <a:gd name="T84" fmla="*/ 344 w 638"/>
                    <a:gd name="T85" fmla="*/ 0 h 774"/>
                    <a:gd name="T86" fmla="*/ 324 w 638"/>
                    <a:gd name="T87" fmla="*/ 0 h 774"/>
                    <a:gd name="T88" fmla="*/ 324 w 638"/>
                    <a:gd name="T89" fmla="*/ 0 h 774"/>
                    <a:gd name="T90" fmla="*/ 288 w 638"/>
                    <a:gd name="T91" fmla="*/ 0 h 774"/>
                    <a:gd name="T92" fmla="*/ 254 w 638"/>
                    <a:gd name="T93" fmla="*/ 2 h 774"/>
                    <a:gd name="T94" fmla="*/ 190 w 638"/>
                    <a:gd name="T95" fmla="*/ 10 h 774"/>
                    <a:gd name="T96" fmla="*/ 136 w 638"/>
                    <a:gd name="T97" fmla="*/ 20 h 774"/>
                    <a:gd name="T98" fmla="*/ 88 w 638"/>
                    <a:gd name="T99" fmla="*/ 32 h 774"/>
                    <a:gd name="T100" fmla="*/ 50 w 638"/>
                    <a:gd name="T101" fmla="*/ 42 h 774"/>
                    <a:gd name="T102" fmla="*/ 22 w 638"/>
                    <a:gd name="T103" fmla="*/ 52 h 774"/>
                    <a:gd name="T104" fmla="*/ 0 w 638"/>
                    <a:gd name="T105" fmla="*/ 62 h 774"/>
                    <a:gd name="T106" fmla="*/ 4 w 638"/>
                    <a:gd name="T107" fmla="*/ 480 h 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8" h="774">
                      <a:moveTo>
                        <a:pt x="4" y="480"/>
                      </a:moveTo>
                      <a:lnTo>
                        <a:pt x="4" y="480"/>
                      </a:lnTo>
                      <a:lnTo>
                        <a:pt x="10" y="510"/>
                      </a:lnTo>
                      <a:lnTo>
                        <a:pt x="18" y="538"/>
                      </a:lnTo>
                      <a:lnTo>
                        <a:pt x="30" y="566"/>
                      </a:lnTo>
                      <a:lnTo>
                        <a:pt x="44" y="594"/>
                      </a:lnTo>
                      <a:lnTo>
                        <a:pt x="60" y="620"/>
                      </a:lnTo>
                      <a:lnTo>
                        <a:pt x="78" y="644"/>
                      </a:lnTo>
                      <a:lnTo>
                        <a:pt x="96" y="666"/>
                      </a:lnTo>
                      <a:lnTo>
                        <a:pt x="118" y="686"/>
                      </a:lnTo>
                      <a:lnTo>
                        <a:pt x="140" y="706"/>
                      </a:lnTo>
                      <a:lnTo>
                        <a:pt x="164" y="724"/>
                      </a:lnTo>
                      <a:lnTo>
                        <a:pt x="188" y="738"/>
                      </a:lnTo>
                      <a:lnTo>
                        <a:pt x="214" y="750"/>
                      </a:lnTo>
                      <a:lnTo>
                        <a:pt x="240" y="760"/>
                      </a:lnTo>
                      <a:lnTo>
                        <a:pt x="266" y="768"/>
                      </a:lnTo>
                      <a:lnTo>
                        <a:pt x="294" y="772"/>
                      </a:lnTo>
                      <a:lnTo>
                        <a:pt x="320" y="774"/>
                      </a:lnTo>
                      <a:lnTo>
                        <a:pt x="320" y="774"/>
                      </a:lnTo>
                      <a:lnTo>
                        <a:pt x="348" y="772"/>
                      </a:lnTo>
                      <a:lnTo>
                        <a:pt x="374" y="768"/>
                      </a:lnTo>
                      <a:lnTo>
                        <a:pt x="400" y="762"/>
                      </a:lnTo>
                      <a:lnTo>
                        <a:pt x="426" y="752"/>
                      </a:lnTo>
                      <a:lnTo>
                        <a:pt x="450" y="742"/>
                      </a:lnTo>
                      <a:lnTo>
                        <a:pt x="474" y="728"/>
                      </a:lnTo>
                      <a:lnTo>
                        <a:pt x="498" y="712"/>
                      </a:lnTo>
                      <a:lnTo>
                        <a:pt x="520" y="694"/>
                      </a:lnTo>
                      <a:lnTo>
                        <a:pt x="542" y="672"/>
                      </a:lnTo>
                      <a:lnTo>
                        <a:pt x="560" y="650"/>
                      </a:lnTo>
                      <a:lnTo>
                        <a:pt x="578" y="626"/>
                      </a:lnTo>
                      <a:lnTo>
                        <a:pt x="594" y="600"/>
                      </a:lnTo>
                      <a:lnTo>
                        <a:pt x="608" y="574"/>
                      </a:lnTo>
                      <a:lnTo>
                        <a:pt x="620" y="544"/>
                      </a:lnTo>
                      <a:lnTo>
                        <a:pt x="630" y="514"/>
                      </a:lnTo>
                      <a:lnTo>
                        <a:pt x="638" y="482"/>
                      </a:lnTo>
                      <a:lnTo>
                        <a:pt x="638" y="62"/>
                      </a:lnTo>
                      <a:lnTo>
                        <a:pt x="638" y="62"/>
                      </a:lnTo>
                      <a:lnTo>
                        <a:pt x="604" y="52"/>
                      </a:lnTo>
                      <a:lnTo>
                        <a:pt x="520" y="32"/>
                      </a:lnTo>
                      <a:lnTo>
                        <a:pt x="470" y="20"/>
                      </a:lnTo>
                      <a:lnTo>
                        <a:pt x="418" y="10"/>
                      </a:lnTo>
                      <a:lnTo>
                        <a:pt x="368" y="2"/>
                      </a:lnTo>
                      <a:lnTo>
                        <a:pt x="344" y="0"/>
                      </a:lnTo>
                      <a:lnTo>
                        <a:pt x="324" y="0"/>
                      </a:lnTo>
                      <a:lnTo>
                        <a:pt x="324" y="0"/>
                      </a:lnTo>
                      <a:lnTo>
                        <a:pt x="288" y="0"/>
                      </a:lnTo>
                      <a:lnTo>
                        <a:pt x="254" y="2"/>
                      </a:lnTo>
                      <a:lnTo>
                        <a:pt x="190" y="10"/>
                      </a:lnTo>
                      <a:lnTo>
                        <a:pt x="136" y="20"/>
                      </a:lnTo>
                      <a:lnTo>
                        <a:pt x="88" y="32"/>
                      </a:lnTo>
                      <a:lnTo>
                        <a:pt x="50" y="42"/>
                      </a:lnTo>
                      <a:lnTo>
                        <a:pt x="22" y="52"/>
                      </a:lnTo>
                      <a:lnTo>
                        <a:pt x="0" y="62"/>
                      </a:lnTo>
                      <a:lnTo>
                        <a:pt x="4" y="48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2" name="Freeform 2444">
                  <a:extLst>
                    <a:ext uri="{FF2B5EF4-FFF2-40B4-BE49-F238E27FC236}">
                      <a16:creationId xmlns:a16="http://schemas.microsoft.com/office/drawing/2014/main" id="{8DBA47A8-934C-4D4E-B8A4-FE23A4E870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550" y="8069436"/>
                  <a:ext cx="0" cy="9525"/>
                </a:xfrm>
                <a:custGeom>
                  <a:avLst/>
                  <a:gdLst>
                    <a:gd name="T0" fmla="*/ 0 h 6"/>
                    <a:gd name="T1" fmla="*/ 6 h 6"/>
                    <a:gd name="T2" fmla="*/ 0 h 6"/>
                    <a:gd name="T3" fmla="*/ 0 h 6"/>
                    <a:gd name="T4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C5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3" name="Freeform 2445">
                  <a:extLst>
                    <a:ext uri="{FF2B5EF4-FFF2-40B4-BE49-F238E27FC236}">
                      <a16:creationId xmlns:a16="http://schemas.microsoft.com/office/drawing/2014/main" id="{092433DE-5154-4F7B-84D9-FE45BDBEA0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550" y="8069436"/>
                  <a:ext cx="0" cy="9525"/>
                </a:xfrm>
                <a:custGeom>
                  <a:avLst/>
                  <a:gdLst>
                    <a:gd name="T0" fmla="*/ 0 h 6"/>
                    <a:gd name="T1" fmla="*/ 6 h 6"/>
                    <a:gd name="T2" fmla="*/ 0 h 6"/>
                    <a:gd name="T3" fmla="*/ 0 h 6"/>
                    <a:gd name="T4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4" name="Freeform 2446">
                  <a:extLst>
                    <a:ext uri="{FF2B5EF4-FFF2-40B4-BE49-F238E27FC236}">
                      <a16:creationId xmlns:a16="http://schemas.microsoft.com/office/drawing/2014/main" id="{02539F7B-8B3F-439A-80E2-C502BD7E78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9200" y="8542511"/>
                  <a:ext cx="34925" cy="3175"/>
                </a:xfrm>
                <a:custGeom>
                  <a:avLst/>
                  <a:gdLst>
                    <a:gd name="T0" fmla="*/ 2 w 22"/>
                    <a:gd name="T1" fmla="*/ 2 h 2"/>
                    <a:gd name="T2" fmla="*/ 0 w 22"/>
                    <a:gd name="T3" fmla="*/ 2 h 2"/>
                    <a:gd name="T4" fmla="*/ 2 w 22"/>
                    <a:gd name="T5" fmla="*/ 2 h 2"/>
                    <a:gd name="T6" fmla="*/ 2 w 22"/>
                    <a:gd name="T7" fmla="*/ 2 h 2"/>
                    <a:gd name="T8" fmla="*/ 2 w 22"/>
                    <a:gd name="T9" fmla="*/ 2 h 2"/>
                    <a:gd name="T10" fmla="*/ 2 w 22"/>
                    <a:gd name="T11" fmla="*/ 2 h 2"/>
                    <a:gd name="T12" fmla="*/ 2 w 22"/>
                    <a:gd name="T13" fmla="*/ 2 h 2"/>
                    <a:gd name="T14" fmla="*/ 4 w 22"/>
                    <a:gd name="T15" fmla="*/ 2 h 2"/>
                    <a:gd name="T16" fmla="*/ 4 w 22"/>
                    <a:gd name="T17" fmla="*/ 2 h 2"/>
                    <a:gd name="T18" fmla="*/ 4 w 22"/>
                    <a:gd name="T19" fmla="*/ 2 h 2"/>
                    <a:gd name="T20" fmla="*/ 4 w 22"/>
                    <a:gd name="T21" fmla="*/ 2 h 2"/>
                    <a:gd name="T22" fmla="*/ 4 w 22"/>
                    <a:gd name="T23" fmla="*/ 2 h 2"/>
                    <a:gd name="T24" fmla="*/ 6 w 22"/>
                    <a:gd name="T25" fmla="*/ 2 h 2"/>
                    <a:gd name="T26" fmla="*/ 4 w 22"/>
                    <a:gd name="T27" fmla="*/ 2 h 2"/>
                    <a:gd name="T28" fmla="*/ 6 w 22"/>
                    <a:gd name="T29" fmla="*/ 2 h 2"/>
                    <a:gd name="T30" fmla="*/ 6 w 22"/>
                    <a:gd name="T31" fmla="*/ 2 h 2"/>
                    <a:gd name="T32" fmla="*/ 6 w 22"/>
                    <a:gd name="T33" fmla="*/ 2 h 2"/>
                    <a:gd name="T34" fmla="*/ 8 w 22"/>
                    <a:gd name="T35" fmla="*/ 2 h 2"/>
                    <a:gd name="T36" fmla="*/ 6 w 22"/>
                    <a:gd name="T37" fmla="*/ 2 h 2"/>
                    <a:gd name="T38" fmla="*/ 8 w 22"/>
                    <a:gd name="T39" fmla="*/ 2 h 2"/>
                    <a:gd name="T40" fmla="*/ 8 w 22"/>
                    <a:gd name="T41" fmla="*/ 2 h 2"/>
                    <a:gd name="T42" fmla="*/ 8 w 22"/>
                    <a:gd name="T43" fmla="*/ 2 h 2"/>
                    <a:gd name="T44" fmla="*/ 8 w 22"/>
                    <a:gd name="T45" fmla="*/ 2 h 2"/>
                    <a:gd name="T46" fmla="*/ 8 w 22"/>
                    <a:gd name="T47" fmla="*/ 2 h 2"/>
                    <a:gd name="T48" fmla="*/ 8 w 22"/>
                    <a:gd name="T49" fmla="*/ 2 h 2"/>
                    <a:gd name="T50" fmla="*/ 10 w 22"/>
                    <a:gd name="T51" fmla="*/ 2 h 2"/>
                    <a:gd name="T52" fmla="*/ 10 w 22"/>
                    <a:gd name="T53" fmla="*/ 2 h 2"/>
                    <a:gd name="T54" fmla="*/ 10 w 22"/>
                    <a:gd name="T55" fmla="*/ 2 h 2"/>
                    <a:gd name="T56" fmla="*/ 10 w 22"/>
                    <a:gd name="T57" fmla="*/ 2 h 2"/>
                    <a:gd name="T58" fmla="*/ 10 w 22"/>
                    <a:gd name="T59" fmla="*/ 2 h 2"/>
                    <a:gd name="T60" fmla="*/ 12 w 22"/>
                    <a:gd name="T61" fmla="*/ 2 h 2"/>
                    <a:gd name="T62" fmla="*/ 12 w 22"/>
                    <a:gd name="T63" fmla="*/ 2 h 2"/>
                    <a:gd name="T64" fmla="*/ 12 w 22"/>
                    <a:gd name="T65" fmla="*/ 2 h 2"/>
                    <a:gd name="T66" fmla="*/ 12 w 22"/>
                    <a:gd name="T67" fmla="*/ 2 h 2"/>
                    <a:gd name="T68" fmla="*/ 12 w 22"/>
                    <a:gd name="T69" fmla="*/ 2 h 2"/>
                    <a:gd name="T70" fmla="*/ 12 w 22"/>
                    <a:gd name="T71" fmla="*/ 2 h 2"/>
                    <a:gd name="T72" fmla="*/ 12 w 22"/>
                    <a:gd name="T73" fmla="*/ 2 h 2"/>
                    <a:gd name="T74" fmla="*/ 14 w 22"/>
                    <a:gd name="T75" fmla="*/ 2 h 2"/>
                    <a:gd name="T76" fmla="*/ 14 w 22"/>
                    <a:gd name="T77" fmla="*/ 2 h 2"/>
                    <a:gd name="T78" fmla="*/ 14 w 22"/>
                    <a:gd name="T79" fmla="*/ 2 h 2"/>
                    <a:gd name="T80" fmla="*/ 14 w 22"/>
                    <a:gd name="T81" fmla="*/ 2 h 2"/>
                    <a:gd name="T82" fmla="*/ 14 w 22"/>
                    <a:gd name="T83" fmla="*/ 2 h 2"/>
                    <a:gd name="T84" fmla="*/ 16 w 22"/>
                    <a:gd name="T85" fmla="*/ 2 h 2"/>
                    <a:gd name="T86" fmla="*/ 16 w 22"/>
                    <a:gd name="T87" fmla="*/ 2 h 2"/>
                    <a:gd name="T88" fmla="*/ 16 w 22"/>
                    <a:gd name="T89" fmla="*/ 2 h 2"/>
                    <a:gd name="T90" fmla="*/ 16 w 22"/>
                    <a:gd name="T91" fmla="*/ 2 h 2"/>
                    <a:gd name="T92" fmla="*/ 16 w 22"/>
                    <a:gd name="T93" fmla="*/ 2 h 2"/>
                    <a:gd name="T94" fmla="*/ 18 w 22"/>
                    <a:gd name="T95" fmla="*/ 2 h 2"/>
                    <a:gd name="T96" fmla="*/ 16 w 22"/>
                    <a:gd name="T97" fmla="*/ 2 h 2"/>
                    <a:gd name="T98" fmla="*/ 18 w 22"/>
                    <a:gd name="T99" fmla="*/ 2 h 2"/>
                    <a:gd name="T100" fmla="*/ 18 w 22"/>
                    <a:gd name="T101" fmla="*/ 2 h 2"/>
                    <a:gd name="T102" fmla="*/ 18 w 22"/>
                    <a:gd name="T103" fmla="*/ 2 h 2"/>
                    <a:gd name="T104" fmla="*/ 18 w 22"/>
                    <a:gd name="T105" fmla="*/ 2 h 2"/>
                    <a:gd name="T106" fmla="*/ 18 w 22"/>
                    <a:gd name="T107" fmla="*/ 2 h 2"/>
                    <a:gd name="T108" fmla="*/ 18 w 22"/>
                    <a:gd name="T109" fmla="*/ 2 h 2"/>
                    <a:gd name="T110" fmla="*/ 20 w 22"/>
                    <a:gd name="T111" fmla="*/ 2 h 2"/>
                    <a:gd name="T112" fmla="*/ 20 w 22"/>
                    <a:gd name="T113" fmla="*/ 2 h 2"/>
                    <a:gd name="T114" fmla="*/ 20 w 22"/>
                    <a:gd name="T115" fmla="*/ 0 h 2"/>
                    <a:gd name="T116" fmla="*/ 20 w 22"/>
                    <a:gd name="T117" fmla="*/ 0 h 2"/>
                    <a:gd name="T118" fmla="*/ 20 w 22"/>
                    <a:gd name="T119" fmla="*/ 0 h 2"/>
                    <a:gd name="T120" fmla="*/ 22 w 22"/>
                    <a:gd name="T121" fmla="*/ 0 h 2"/>
                    <a:gd name="T122" fmla="*/ 22 w 22"/>
                    <a:gd name="T123" fmla="*/ 0 h 2"/>
                    <a:gd name="T124" fmla="*/ 22 w 22"/>
                    <a:gd name="T12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2" h="2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2"/>
                      </a:lnTo>
                      <a:close/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close/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close/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8" y="2"/>
                      </a:lnTo>
                      <a:close/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close/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close/>
                      <a:moveTo>
                        <a:pt x="10" y="2"/>
                      </a:move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close/>
                      <a:moveTo>
                        <a:pt x="10" y="2"/>
                      </a:move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close/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close/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close/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close/>
                      <a:moveTo>
                        <a:pt x="14" y="2"/>
                      </a:move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close/>
                      <a:moveTo>
                        <a:pt x="14" y="2"/>
                      </a:move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close/>
                      <a:moveTo>
                        <a:pt x="16" y="2"/>
                      </a:move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close/>
                      <a:moveTo>
                        <a:pt x="16" y="2"/>
                      </a:move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8" y="2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close/>
                      <a:moveTo>
                        <a:pt x="20" y="2"/>
                      </a:move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close/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C289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5" name="Rectangle 2447">
                  <a:extLst>
                    <a:ext uri="{FF2B5EF4-FFF2-40B4-BE49-F238E27FC236}">
                      <a16:creationId xmlns:a16="http://schemas.microsoft.com/office/drawing/2014/main" id="{40CC8A28-7758-46BE-9FCB-8CDF2CD6E6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9200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6" name="Rectangle 2448">
                  <a:extLst>
                    <a:ext uri="{FF2B5EF4-FFF2-40B4-BE49-F238E27FC236}">
                      <a16:creationId xmlns:a16="http://schemas.microsoft.com/office/drawing/2014/main" id="{75F546E2-A515-4D9F-B141-32BF5EAA66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23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7" name="Rectangle 2449">
                  <a:extLst>
                    <a:ext uri="{FF2B5EF4-FFF2-40B4-BE49-F238E27FC236}">
                      <a16:creationId xmlns:a16="http://schemas.microsoft.com/office/drawing/2014/main" id="{5E5805BF-B0C6-4417-968B-7A63F2F2D7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23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8" name="Rectangle 2450">
                  <a:extLst>
                    <a:ext uri="{FF2B5EF4-FFF2-40B4-BE49-F238E27FC236}">
                      <a16:creationId xmlns:a16="http://schemas.microsoft.com/office/drawing/2014/main" id="{EF3E3CB4-87D3-4BA0-8100-F00611EB3C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55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9" name="Rectangle 2451">
                  <a:extLst>
                    <a:ext uri="{FF2B5EF4-FFF2-40B4-BE49-F238E27FC236}">
                      <a16:creationId xmlns:a16="http://schemas.microsoft.com/office/drawing/2014/main" id="{E83D9EA1-702A-4D0D-981A-4088C21F45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55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0" name="Rectangle 2452">
                  <a:extLst>
                    <a:ext uri="{FF2B5EF4-FFF2-40B4-BE49-F238E27FC236}">
                      <a16:creationId xmlns:a16="http://schemas.microsoft.com/office/drawing/2014/main" id="{8253CA9F-7DA0-4A1D-95C9-AB40CB52DD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5550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1" name="Rectangle 2453">
                  <a:extLst>
                    <a:ext uri="{FF2B5EF4-FFF2-40B4-BE49-F238E27FC236}">
                      <a16:creationId xmlns:a16="http://schemas.microsoft.com/office/drawing/2014/main" id="{10215944-A566-4561-96E3-9EDB491F8A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872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2" name="Rectangle 2454">
                  <a:extLst>
                    <a:ext uri="{FF2B5EF4-FFF2-40B4-BE49-F238E27FC236}">
                      <a16:creationId xmlns:a16="http://schemas.microsoft.com/office/drawing/2014/main" id="{97626EE5-B897-43FB-95EF-0EAABDDBC4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8725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3" name="Rectangle 2455">
                  <a:extLst>
                    <a:ext uri="{FF2B5EF4-FFF2-40B4-BE49-F238E27FC236}">
                      <a16:creationId xmlns:a16="http://schemas.microsoft.com/office/drawing/2014/main" id="{6CBBB9F5-F76B-4029-9BA5-A676F81B37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19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4" name="Rectangle 2456">
                  <a:extLst>
                    <a:ext uri="{FF2B5EF4-FFF2-40B4-BE49-F238E27FC236}">
                      <a16:creationId xmlns:a16="http://schemas.microsoft.com/office/drawing/2014/main" id="{7FA97CB3-57D0-437A-9C6D-C114492FB5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19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" name="Rectangle 2457">
                  <a:extLst>
                    <a:ext uri="{FF2B5EF4-FFF2-40B4-BE49-F238E27FC236}">
                      <a16:creationId xmlns:a16="http://schemas.microsoft.com/office/drawing/2014/main" id="{181242D9-A5F6-4E4C-87A9-8A4D948481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50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6" name="Rectangle 2458">
                  <a:extLst>
                    <a:ext uri="{FF2B5EF4-FFF2-40B4-BE49-F238E27FC236}">
                      <a16:creationId xmlns:a16="http://schemas.microsoft.com/office/drawing/2014/main" id="{AC446C6F-2205-42FB-8760-9C78FDBA6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50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7" name="Rectangle 2459">
                  <a:extLst>
                    <a:ext uri="{FF2B5EF4-FFF2-40B4-BE49-F238E27FC236}">
                      <a16:creationId xmlns:a16="http://schemas.microsoft.com/office/drawing/2014/main" id="{B50348DA-59A5-4BC5-8C7B-15EDEC84E0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82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8" name="Rectangle 2460">
                  <a:extLst>
                    <a:ext uri="{FF2B5EF4-FFF2-40B4-BE49-F238E27FC236}">
                      <a16:creationId xmlns:a16="http://schemas.microsoft.com/office/drawing/2014/main" id="{FF0416E7-F607-4B90-84D6-08B6DA2652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82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9" name="Rectangle 2461">
                  <a:extLst>
                    <a:ext uri="{FF2B5EF4-FFF2-40B4-BE49-F238E27FC236}">
                      <a16:creationId xmlns:a16="http://schemas.microsoft.com/office/drawing/2014/main" id="{59EF1989-706F-48B6-AEB1-30E574EA32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82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0" name="Rectangle 2462">
                  <a:extLst>
                    <a:ext uri="{FF2B5EF4-FFF2-40B4-BE49-F238E27FC236}">
                      <a16:creationId xmlns:a16="http://schemas.microsoft.com/office/drawing/2014/main" id="{BF846A92-DB8B-481D-BC96-3F5928EA2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142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1" name="Rectangle 2463">
                  <a:extLst>
                    <a:ext uri="{FF2B5EF4-FFF2-40B4-BE49-F238E27FC236}">
                      <a16:creationId xmlns:a16="http://schemas.microsoft.com/office/drawing/2014/main" id="{5DCF39DE-A358-4645-9DFB-CC0866BB80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142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2" name="Rectangle 2464">
                  <a:extLst>
                    <a:ext uri="{FF2B5EF4-FFF2-40B4-BE49-F238E27FC236}">
                      <a16:creationId xmlns:a16="http://schemas.microsoft.com/office/drawing/2014/main" id="{29F5090A-262C-4BAD-9D57-668FCD03DD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46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3" name="Rectangle 2465">
                  <a:extLst>
                    <a:ext uri="{FF2B5EF4-FFF2-40B4-BE49-F238E27FC236}">
                      <a16:creationId xmlns:a16="http://schemas.microsoft.com/office/drawing/2014/main" id="{5B90773C-F476-42C6-BDB7-DCA154A150C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460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4" name="Rectangle 2466">
                  <a:extLst>
                    <a:ext uri="{FF2B5EF4-FFF2-40B4-BE49-F238E27FC236}">
                      <a16:creationId xmlns:a16="http://schemas.microsoft.com/office/drawing/2014/main" id="{E9547CE8-FE99-4501-B55E-2E2BE49517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4600" y="8545686"/>
                  <a:ext cx="3175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5" name="Rectangle 2467">
                  <a:extLst>
                    <a:ext uri="{FF2B5EF4-FFF2-40B4-BE49-F238E27FC236}">
                      <a16:creationId xmlns:a16="http://schemas.microsoft.com/office/drawing/2014/main" id="{947E94FF-D551-41E5-8489-8EE9BD217D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77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6" name="Rectangle 2468">
                  <a:extLst>
                    <a:ext uri="{FF2B5EF4-FFF2-40B4-BE49-F238E27FC236}">
                      <a16:creationId xmlns:a16="http://schemas.microsoft.com/office/drawing/2014/main" id="{A799DD88-1EF7-46EF-984B-B2E3ADC9AE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7775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7" name="Rectangle 2469">
                  <a:extLst>
                    <a:ext uri="{FF2B5EF4-FFF2-40B4-BE49-F238E27FC236}">
                      <a16:creationId xmlns:a16="http://schemas.microsoft.com/office/drawing/2014/main" id="{95B15834-D13C-4831-9F9A-2F092343CF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0950" y="8545686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8" name="Rectangle 2470">
                  <a:extLst>
                    <a:ext uri="{FF2B5EF4-FFF2-40B4-BE49-F238E27FC236}">
                      <a16:creationId xmlns:a16="http://schemas.microsoft.com/office/drawing/2014/main" id="{19E90949-DF1D-41D2-8095-2C5BB98BC2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0950" y="8542511"/>
                  <a:ext cx="1588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9" name="Freeform 2471">
                  <a:extLst>
                    <a:ext uri="{FF2B5EF4-FFF2-40B4-BE49-F238E27FC236}">
                      <a16:creationId xmlns:a16="http://schemas.microsoft.com/office/drawing/2014/main" id="{BF682EFC-EDC0-4DAA-BB03-7EFBF1EF6F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4125" y="85425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0" name="Freeform 2472">
                  <a:extLst>
                    <a:ext uri="{FF2B5EF4-FFF2-40B4-BE49-F238E27FC236}">
                      <a16:creationId xmlns:a16="http://schemas.microsoft.com/office/drawing/2014/main" id="{7440A4B7-8C8E-4C85-AD1C-51EBA09941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4125" y="85425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1" name="Freeform 2473">
                  <a:extLst>
                    <a:ext uri="{FF2B5EF4-FFF2-40B4-BE49-F238E27FC236}">
                      <a16:creationId xmlns:a16="http://schemas.microsoft.com/office/drawing/2014/main" id="{D2516281-9C53-4CE5-A05F-EDF5BC4F1F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550" y="8053561"/>
                  <a:ext cx="1006475" cy="492125"/>
                </a:xfrm>
                <a:custGeom>
                  <a:avLst/>
                  <a:gdLst>
                    <a:gd name="T0" fmla="*/ 624 w 634"/>
                    <a:gd name="T1" fmla="*/ 30 h 310"/>
                    <a:gd name="T2" fmla="*/ 586 w 634"/>
                    <a:gd name="T3" fmla="*/ 112 h 310"/>
                    <a:gd name="T4" fmla="*/ 530 w 634"/>
                    <a:gd name="T5" fmla="*/ 178 h 310"/>
                    <a:gd name="T6" fmla="*/ 464 w 634"/>
                    <a:gd name="T7" fmla="*/ 228 h 310"/>
                    <a:gd name="T8" fmla="*/ 390 w 634"/>
                    <a:gd name="T9" fmla="*/ 260 h 310"/>
                    <a:gd name="T10" fmla="*/ 314 w 634"/>
                    <a:gd name="T11" fmla="*/ 270 h 310"/>
                    <a:gd name="T12" fmla="*/ 264 w 634"/>
                    <a:gd name="T13" fmla="*/ 266 h 310"/>
                    <a:gd name="T14" fmla="*/ 190 w 634"/>
                    <a:gd name="T15" fmla="*/ 240 h 310"/>
                    <a:gd name="T16" fmla="*/ 120 w 634"/>
                    <a:gd name="T17" fmla="*/ 194 h 310"/>
                    <a:gd name="T18" fmla="*/ 62 w 634"/>
                    <a:gd name="T19" fmla="*/ 134 h 310"/>
                    <a:gd name="T20" fmla="*/ 20 w 634"/>
                    <a:gd name="T21" fmla="*/ 62 h 310"/>
                    <a:gd name="T22" fmla="*/ 0 w 634"/>
                    <a:gd name="T23" fmla="*/ 16 h 310"/>
                    <a:gd name="T24" fmla="*/ 14 w 634"/>
                    <a:gd name="T25" fmla="*/ 74 h 310"/>
                    <a:gd name="T26" fmla="*/ 56 w 634"/>
                    <a:gd name="T27" fmla="*/ 156 h 310"/>
                    <a:gd name="T28" fmla="*/ 114 w 634"/>
                    <a:gd name="T29" fmla="*/ 222 h 310"/>
                    <a:gd name="T30" fmla="*/ 184 w 634"/>
                    <a:gd name="T31" fmla="*/ 274 h 310"/>
                    <a:gd name="T32" fmla="*/ 262 w 634"/>
                    <a:gd name="T33" fmla="*/ 304 h 310"/>
                    <a:gd name="T34" fmla="*/ 316 w 634"/>
                    <a:gd name="T35" fmla="*/ 310 h 310"/>
                    <a:gd name="T36" fmla="*/ 318 w 634"/>
                    <a:gd name="T37" fmla="*/ 310 h 310"/>
                    <a:gd name="T38" fmla="*/ 318 w 634"/>
                    <a:gd name="T39" fmla="*/ 310 h 310"/>
                    <a:gd name="T40" fmla="*/ 318 w 634"/>
                    <a:gd name="T41" fmla="*/ 310 h 310"/>
                    <a:gd name="T42" fmla="*/ 320 w 634"/>
                    <a:gd name="T43" fmla="*/ 310 h 310"/>
                    <a:gd name="T44" fmla="*/ 320 w 634"/>
                    <a:gd name="T45" fmla="*/ 310 h 310"/>
                    <a:gd name="T46" fmla="*/ 320 w 634"/>
                    <a:gd name="T47" fmla="*/ 310 h 310"/>
                    <a:gd name="T48" fmla="*/ 320 w 634"/>
                    <a:gd name="T49" fmla="*/ 310 h 310"/>
                    <a:gd name="T50" fmla="*/ 322 w 634"/>
                    <a:gd name="T51" fmla="*/ 310 h 310"/>
                    <a:gd name="T52" fmla="*/ 322 w 634"/>
                    <a:gd name="T53" fmla="*/ 310 h 310"/>
                    <a:gd name="T54" fmla="*/ 324 w 634"/>
                    <a:gd name="T55" fmla="*/ 310 h 310"/>
                    <a:gd name="T56" fmla="*/ 324 w 634"/>
                    <a:gd name="T57" fmla="*/ 310 h 310"/>
                    <a:gd name="T58" fmla="*/ 324 w 634"/>
                    <a:gd name="T59" fmla="*/ 310 h 310"/>
                    <a:gd name="T60" fmla="*/ 324 w 634"/>
                    <a:gd name="T61" fmla="*/ 310 h 310"/>
                    <a:gd name="T62" fmla="*/ 326 w 634"/>
                    <a:gd name="T63" fmla="*/ 310 h 310"/>
                    <a:gd name="T64" fmla="*/ 326 w 634"/>
                    <a:gd name="T65" fmla="*/ 310 h 310"/>
                    <a:gd name="T66" fmla="*/ 328 w 634"/>
                    <a:gd name="T67" fmla="*/ 310 h 310"/>
                    <a:gd name="T68" fmla="*/ 328 w 634"/>
                    <a:gd name="T69" fmla="*/ 310 h 310"/>
                    <a:gd name="T70" fmla="*/ 328 w 634"/>
                    <a:gd name="T71" fmla="*/ 310 h 310"/>
                    <a:gd name="T72" fmla="*/ 328 w 634"/>
                    <a:gd name="T73" fmla="*/ 310 h 310"/>
                    <a:gd name="T74" fmla="*/ 330 w 634"/>
                    <a:gd name="T75" fmla="*/ 310 h 310"/>
                    <a:gd name="T76" fmla="*/ 330 w 634"/>
                    <a:gd name="T77" fmla="*/ 310 h 310"/>
                    <a:gd name="T78" fmla="*/ 330 w 634"/>
                    <a:gd name="T79" fmla="*/ 310 h 310"/>
                    <a:gd name="T80" fmla="*/ 332 w 634"/>
                    <a:gd name="T81" fmla="*/ 310 h 310"/>
                    <a:gd name="T82" fmla="*/ 332 w 634"/>
                    <a:gd name="T83" fmla="*/ 310 h 310"/>
                    <a:gd name="T84" fmla="*/ 332 w 634"/>
                    <a:gd name="T85" fmla="*/ 310 h 310"/>
                    <a:gd name="T86" fmla="*/ 334 w 634"/>
                    <a:gd name="T87" fmla="*/ 310 h 310"/>
                    <a:gd name="T88" fmla="*/ 334 w 634"/>
                    <a:gd name="T89" fmla="*/ 310 h 310"/>
                    <a:gd name="T90" fmla="*/ 334 w 634"/>
                    <a:gd name="T91" fmla="*/ 310 h 310"/>
                    <a:gd name="T92" fmla="*/ 334 w 634"/>
                    <a:gd name="T93" fmla="*/ 310 h 310"/>
                    <a:gd name="T94" fmla="*/ 336 w 634"/>
                    <a:gd name="T95" fmla="*/ 310 h 310"/>
                    <a:gd name="T96" fmla="*/ 336 w 634"/>
                    <a:gd name="T97" fmla="*/ 308 h 310"/>
                    <a:gd name="T98" fmla="*/ 338 w 634"/>
                    <a:gd name="T99" fmla="*/ 308 h 310"/>
                    <a:gd name="T100" fmla="*/ 338 w 634"/>
                    <a:gd name="T101" fmla="*/ 308 h 310"/>
                    <a:gd name="T102" fmla="*/ 338 w 634"/>
                    <a:gd name="T103" fmla="*/ 308 h 310"/>
                    <a:gd name="T104" fmla="*/ 412 w 634"/>
                    <a:gd name="T105" fmla="*/ 292 h 310"/>
                    <a:gd name="T106" fmla="*/ 482 w 634"/>
                    <a:gd name="T107" fmla="*/ 256 h 310"/>
                    <a:gd name="T108" fmla="*/ 544 w 634"/>
                    <a:gd name="T109" fmla="*/ 202 h 310"/>
                    <a:gd name="T110" fmla="*/ 592 w 634"/>
                    <a:gd name="T111" fmla="*/ 134 h 310"/>
                    <a:gd name="T112" fmla="*/ 626 w 634"/>
                    <a:gd name="T113" fmla="*/ 50 h 310"/>
                    <a:gd name="T114" fmla="*/ 634 w 634"/>
                    <a:gd name="T115" fmla="*/ 0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34" h="310">
                      <a:moveTo>
                        <a:pt x="634" y="0"/>
                      </a:moveTo>
                      <a:lnTo>
                        <a:pt x="634" y="0"/>
                      </a:lnTo>
                      <a:lnTo>
                        <a:pt x="624" y="30"/>
                      </a:lnTo>
                      <a:lnTo>
                        <a:pt x="614" y="58"/>
                      </a:lnTo>
                      <a:lnTo>
                        <a:pt x="600" y="86"/>
                      </a:lnTo>
                      <a:lnTo>
                        <a:pt x="586" y="112"/>
                      </a:lnTo>
                      <a:lnTo>
                        <a:pt x="570" y="134"/>
                      </a:lnTo>
                      <a:lnTo>
                        <a:pt x="550" y="158"/>
                      </a:lnTo>
                      <a:lnTo>
                        <a:pt x="530" y="178"/>
                      </a:lnTo>
                      <a:lnTo>
                        <a:pt x="510" y="196"/>
                      </a:lnTo>
                      <a:lnTo>
                        <a:pt x="488" y="212"/>
                      </a:lnTo>
                      <a:lnTo>
                        <a:pt x="464" y="228"/>
                      </a:lnTo>
                      <a:lnTo>
                        <a:pt x="440" y="240"/>
                      </a:lnTo>
                      <a:lnTo>
                        <a:pt x="416" y="250"/>
                      </a:lnTo>
                      <a:lnTo>
                        <a:pt x="390" y="260"/>
                      </a:lnTo>
                      <a:lnTo>
                        <a:pt x="364" y="266"/>
                      </a:lnTo>
                      <a:lnTo>
                        <a:pt x="338" y="270"/>
                      </a:lnTo>
                      <a:lnTo>
                        <a:pt x="314" y="270"/>
                      </a:lnTo>
                      <a:lnTo>
                        <a:pt x="314" y="270"/>
                      </a:lnTo>
                      <a:lnTo>
                        <a:pt x="288" y="270"/>
                      </a:lnTo>
                      <a:lnTo>
                        <a:pt x="264" y="266"/>
                      </a:lnTo>
                      <a:lnTo>
                        <a:pt x="238" y="258"/>
                      </a:lnTo>
                      <a:lnTo>
                        <a:pt x="214" y="250"/>
                      </a:lnTo>
                      <a:lnTo>
                        <a:pt x="190" y="240"/>
                      </a:lnTo>
                      <a:lnTo>
                        <a:pt x="166" y="226"/>
                      </a:lnTo>
                      <a:lnTo>
                        <a:pt x="142" y="212"/>
                      </a:lnTo>
                      <a:lnTo>
                        <a:pt x="120" y="194"/>
                      </a:lnTo>
                      <a:lnTo>
                        <a:pt x="100" y="176"/>
                      </a:lnTo>
                      <a:lnTo>
                        <a:pt x="80" y="156"/>
                      </a:lnTo>
                      <a:lnTo>
                        <a:pt x="62" y="134"/>
                      </a:lnTo>
                      <a:lnTo>
                        <a:pt x="46" y="112"/>
                      </a:lnTo>
                      <a:lnTo>
                        <a:pt x="32" y="88"/>
                      </a:lnTo>
                      <a:lnTo>
                        <a:pt x="20" y="62"/>
                      </a:lnTo>
                      <a:lnTo>
                        <a:pt x="8" y="36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6" y="46"/>
                      </a:lnTo>
                      <a:lnTo>
                        <a:pt x="14" y="74"/>
                      </a:lnTo>
                      <a:lnTo>
                        <a:pt x="26" y="102"/>
                      </a:lnTo>
                      <a:lnTo>
                        <a:pt x="40" y="130"/>
                      </a:lnTo>
                      <a:lnTo>
                        <a:pt x="56" y="156"/>
                      </a:lnTo>
                      <a:lnTo>
                        <a:pt x="74" y="180"/>
                      </a:lnTo>
                      <a:lnTo>
                        <a:pt x="92" y="202"/>
                      </a:lnTo>
                      <a:lnTo>
                        <a:pt x="114" y="222"/>
                      </a:lnTo>
                      <a:lnTo>
                        <a:pt x="136" y="242"/>
                      </a:lnTo>
                      <a:lnTo>
                        <a:pt x="160" y="260"/>
                      </a:lnTo>
                      <a:lnTo>
                        <a:pt x="184" y="274"/>
                      </a:lnTo>
                      <a:lnTo>
                        <a:pt x="210" y="286"/>
                      </a:lnTo>
                      <a:lnTo>
                        <a:pt x="236" y="296"/>
                      </a:lnTo>
                      <a:lnTo>
                        <a:pt x="262" y="304"/>
                      </a:lnTo>
                      <a:lnTo>
                        <a:pt x="290" y="308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64" y="306"/>
                      </a:lnTo>
                      <a:lnTo>
                        <a:pt x="388" y="300"/>
                      </a:lnTo>
                      <a:lnTo>
                        <a:pt x="412" y="292"/>
                      </a:lnTo>
                      <a:lnTo>
                        <a:pt x="436" y="282"/>
                      </a:lnTo>
                      <a:lnTo>
                        <a:pt x="460" y="270"/>
                      </a:lnTo>
                      <a:lnTo>
                        <a:pt x="482" y="256"/>
                      </a:lnTo>
                      <a:lnTo>
                        <a:pt x="504" y="240"/>
                      </a:lnTo>
                      <a:lnTo>
                        <a:pt x="524" y="222"/>
                      </a:lnTo>
                      <a:lnTo>
                        <a:pt x="544" y="202"/>
                      </a:lnTo>
                      <a:lnTo>
                        <a:pt x="562" y="180"/>
                      </a:lnTo>
                      <a:lnTo>
                        <a:pt x="578" y="158"/>
                      </a:lnTo>
                      <a:lnTo>
                        <a:pt x="592" y="134"/>
                      </a:lnTo>
                      <a:lnTo>
                        <a:pt x="606" y="108"/>
                      </a:lnTo>
                      <a:lnTo>
                        <a:pt x="616" y="80"/>
                      </a:lnTo>
                      <a:lnTo>
                        <a:pt x="626" y="50"/>
                      </a:lnTo>
                      <a:lnTo>
                        <a:pt x="632" y="20"/>
                      </a:lnTo>
                      <a:lnTo>
                        <a:pt x="634" y="16"/>
                      </a:lnTo>
                      <a:lnTo>
                        <a:pt x="634" y="0"/>
                      </a:lnTo>
                      <a:close/>
                    </a:path>
                  </a:pathLst>
                </a:custGeom>
                <a:solidFill>
                  <a:srgbClr val="C289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2" name="Freeform 2474">
                  <a:extLst>
                    <a:ext uri="{FF2B5EF4-FFF2-40B4-BE49-F238E27FC236}">
                      <a16:creationId xmlns:a16="http://schemas.microsoft.com/office/drawing/2014/main" id="{E0761245-5569-47E6-8D80-BDF9C08B4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550" y="8053561"/>
                  <a:ext cx="1006475" cy="492125"/>
                </a:xfrm>
                <a:custGeom>
                  <a:avLst/>
                  <a:gdLst>
                    <a:gd name="T0" fmla="*/ 624 w 634"/>
                    <a:gd name="T1" fmla="*/ 30 h 310"/>
                    <a:gd name="T2" fmla="*/ 586 w 634"/>
                    <a:gd name="T3" fmla="*/ 112 h 310"/>
                    <a:gd name="T4" fmla="*/ 530 w 634"/>
                    <a:gd name="T5" fmla="*/ 178 h 310"/>
                    <a:gd name="T6" fmla="*/ 464 w 634"/>
                    <a:gd name="T7" fmla="*/ 228 h 310"/>
                    <a:gd name="T8" fmla="*/ 390 w 634"/>
                    <a:gd name="T9" fmla="*/ 260 h 310"/>
                    <a:gd name="T10" fmla="*/ 314 w 634"/>
                    <a:gd name="T11" fmla="*/ 270 h 310"/>
                    <a:gd name="T12" fmla="*/ 264 w 634"/>
                    <a:gd name="T13" fmla="*/ 266 h 310"/>
                    <a:gd name="T14" fmla="*/ 190 w 634"/>
                    <a:gd name="T15" fmla="*/ 240 h 310"/>
                    <a:gd name="T16" fmla="*/ 120 w 634"/>
                    <a:gd name="T17" fmla="*/ 194 h 310"/>
                    <a:gd name="T18" fmla="*/ 62 w 634"/>
                    <a:gd name="T19" fmla="*/ 134 h 310"/>
                    <a:gd name="T20" fmla="*/ 20 w 634"/>
                    <a:gd name="T21" fmla="*/ 62 h 310"/>
                    <a:gd name="T22" fmla="*/ 0 w 634"/>
                    <a:gd name="T23" fmla="*/ 16 h 310"/>
                    <a:gd name="T24" fmla="*/ 14 w 634"/>
                    <a:gd name="T25" fmla="*/ 74 h 310"/>
                    <a:gd name="T26" fmla="*/ 56 w 634"/>
                    <a:gd name="T27" fmla="*/ 156 h 310"/>
                    <a:gd name="T28" fmla="*/ 114 w 634"/>
                    <a:gd name="T29" fmla="*/ 222 h 310"/>
                    <a:gd name="T30" fmla="*/ 184 w 634"/>
                    <a:gd name="T31" fmla="*/ 274 h 310"/>
                    <a:gd name="T32" fmla="*/ 262 w 634"/>
                    <a:gd name="T33" fmla="*/ 304 h 310"/>
                    <a:gd name="T34" fmla="*/ 316 w 634"/>
                    <a:gd name="T35" fmla="*/ 310 h 310"/>
                    <a:gd name="T36" fmla="*/ 318 w 634"/>
                    <a:gd name="T37" fmla="*/ 310 h 310"/>
                    <a:gd name="T38" fmla="*/ 318 w 634"/>
                    <a:gd name="T39" fmla="*/ 310 h 310"/>
                    <a:gd name="T40" fmla="*/ 318 w 634"/>
                    <a:gd name="T41" fmla="*/ 310 h 310"/>
                    <a:gd name="T42" fmla="*/ 320 w 634"/>
                    <a:gd name="T43" fmla="*/ 310 h 310"/>
                    <a:gd name="T44" fmla="*/ 320 w 634"/>
                    <a:gd name="T45" fmla="*/ 310 h 310"/>
                    <a:gd name="T46" fmla="*/ 320 w 634"/>
                    <a:gd name="T47" fmla="*/ 310 h 310"/>
                    <a:gd name="T48" fmla="*/ 320 w 634"/>
                    <a:gd name="T49" fmla="*/ 310 h 310"/>
                    <a:gd name="T50" fmla="*/ 322 w 634"/>
                    <a:gd name="T51" fmla="*/ 310 h 310"/>
                    <a:gd name="T52" fmla="*/ 322 w 634"/>
                    <a:gd name="T53" fmla="*/ 310 h 310"/>
                    <a:gd name="T54" fmla="*/ 324 w 634"/>
                    <a:gd name="T55" fmla="*/ 310 h 310"/>
                    <a:gd name="T56" fmla="*/ 324 w 634"/>
                    <a:gd name="T57" fmla="*/ 310 h 310"/>
                    <a:gd name="T58" fmla="*/ 324 w 634"/>
                    <a:gd name="T59" fmla="*/ 310 h 310"/>
                    <a:gd name="T60" fmla="*/ 324 w 634"/>
                    <a:gd name="T61" fmla="*/ 310 h 310"/>
                    <a:gd name="T62" fmla="*/ 326 w 634"/>
                    <a:gd name="T63" fmla="*/ 310 h 310"/>
                    <a:gd name="T64" fmla="*/ 326 w 634"/>
                    <a:gd name="T65" fmla="*/ 310 h 310"/>
                    <a:gd name="T66" fmla="*/ 328 w 634"/>
                    <a:gd name="T67" fmla="*/ 310 h 310"/>
                    <a:gd name="T68" fmla="*/ 328 w 634"/>
                    <a:gd name="T69" fmla="*/ 310 h 310"/>
                    <a:gd name="T70" fmla="*/ 328 w 634"/>
                    <a:gd name="T71" fmla="*/ 310 h 310"/>
                    <a:gd name="T72" fmla="*/ 328 w 634"/>
                    <a:gd name="T73" fmla="*/ 310 h 310"/>
                    <a:gd name="T74" fmla="*/ 330 w 634"/>
                    <a:gd name="T75" fmla="*/ 310 h 310"/>
                    <a:gd name="T76" fmla="*/ 330 w 634"/>
                    <a:gd name="T77" fmla="*/ 310 h 310"/>
                    <a:gd name="T78" fmla="*/ 330 w 634"/>
                    <a:gd name="T79" fmla="*/ 310 h 310"/>
                    <a:gd name="T80" fmla="*/ 332 w 634"/>
                    <a:gd name="T81" fmla="*/ 310 h 310"/>
                    <a:gd name="T82" fmla="*/ 332 w 634"/>
                    <a:gd name="T83" fmla="*/ 310 h 310"/>
                    <a:gd name="T84" fmla="*/ 332 w 634"/>
                    <a:gd name="T85" fmla="*/ 310 h 310"/>
                    <a:gd name="T86" fmla="*/ 334 w 634"/>
                    <a:gd name="T87" fmla="*/ 310 h 310"/>
                    <a:gd name="T88" fmla="*/ 334 w 634"/>
                    <a:gd name="T89" fmla="*/ 310 h 310"/>
                    <a:gd name="T90" fmla="*/ 334 w 634"/>
                    <a:gd name="T91" fmla="*/ 310 h 310"/>
                    <a:gd name="T92" fmla="*/ 334 w 634"/>
                    <a:gd name="T93" fmla="*/ 310 h 310"/>
                    <a:gd name="T94" fmla="*/ 336 w 634"/>
                    <a:gd name="T95" fmla="*/ 310 h 310"/>
                    <a:gd name="T96" fmla="*/ 336 w 634"/>
                    <a:gd name="T97" fmla="*/ 308 h 310"/>
                    <a:gd name="T98" fmla="*/ 338 w 634"/>
                    <a:gd name="T99" fmla="*/ 308 h 310"/>
                    <a:gd name="T100" fmla="*/ 338 w 634"/>
                    <a:gd name="T101" fmla="*/ 308 h 310"/>
                    <a:gd name="T102" fmla="*/ 338 w 634"/>
                    <a:gd name="T103" fmla="*/ 308 h 310"/>
                    <a:gd name="T104" fmla="*/ 412 w 634"/>
                    <a:gd name="T105" fmla="*/ 292 h 310"/>
                    <a:gd name="T106" fmla="*/ 482 w 634"/>
                    <a:gd name="T107" fmla="*/ 256 h 310"/>
                    <a:gd name="T108" fmla="*/ 544 w 634"/>
                    <a:gd name="T109" fmla="*/ 202 h 310"/>
                    <a:gd name="T110" fmla="*/ 592 w 634"/>
                    <a:gd name="T111" fmla="*/ 134 h 310"/>
                    <a:gd name="T112" fmla="*/ 626 w 634"/>
                    <a:gd name="T113" fmla="*/ 50 h 310"/>
                    <a:gd name="T114" fmla="*/ 634 w 634"/>
                    <a:gd name="T115" fmla="*/ 0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34" h="310">
                      <a:moveTo>
                        <a:pt x="634" y="0"/>
                      </a:moveTo>
                      <a:lnTo>
                        <a:pt x="634" y="0"/>
                      </a:lnTo>
                      <a:lnTo>
                        <a:pt x="624" y="30"/>
                      </a:lnTo>
                      <a:lnTo>
                        <a:pt x="614" y="58"/>
                      </a:lnTo>
                      <a:lnTo>
                        <a:pt x="600" y="86"/>
                      </a:lnTo>
                      <a:lnTo>
                        <a:pt x="586" y="112"/>
                      </a:lnTo>
                      <a:lnTo>
                        <a:pt x="570" y="134"/>
                      </a:lnTo>
                      <a:lnTo>
                        <a:pt x="550" y="158"/>
                      </a:lnTo>
                      <a:lnTo>
                        <a:pt x="530" y="178"/>
                      </a:lnTo>
                      <a:lnTo>
                        <a:pt x="510" y="196"/>
                      </a:lnTo>
                      <a:lnTo>
                        <a:pt x="488" y="212"/>
                      </a:lnTo>
                      <a:lnTo>
                        <a:pt x="464" y="228"/>
                      </a:lnTo>
                      <a:lnTo>
                        <a:pt x="440" y="240"/>
                      </a:lnTo>
                      <a:lnTo>
                        <a:pt x="416" y="250"/>
                      </a:lnTo>
                      <a:lnTo>
                        <a:pt x="390" y="260"/>
                      </a:lnTo>
                      <a:lnTo>
                        <a:pt x="364" y="266"/>
                      </a:lnTo>
                      <a:lnTo>
                        <a:pt x="338" y="270"/>
                      </a:lnTo>
                      <a:lnTo>
                        <a:pt x="314" y="270"/>
                      </a:lnTo>
                      <a:lnTo>
                        <a:pt x="314" y="270"/>
                      </a:lnTo>
                      <a:lnTo>
                        <a:pt x="288" y="270"/>
                      </a:lnTo>
                      <a:lnTo>
                        <a:pt x="264" y="266"/>
                      </a:lnTo>
                      <a:lnTo>
                        <a:pt x="238" y="258"/>
                      </a:lnTo>
                      <a:lnTo>
                        <a:pt x="214" y="250"/>
                      </a:lnTo>
                      <a:lnTo>
                        <a:pt x="190" y="240"/>
                      </a:lnTo>
                      <a:lnTo>
                        <a:pt x="166" y="226"/>
                      </a:lnTo>
                      <a:lnTo>
                        <a:pt x="142" y="212"/>
                      </a:lnTo>
                      <a:lnTo>
                        <a:pt x="120" y="194"/>
                      </a:lnTo>
                      <a:lnTo>
                        <a:pt x="100" y="176"/>
                      </a:lnTo>
                      <a:lnTo>
                        <a:pt x="80" y="156"/>
                      </a:lnTo>
                      <a:lnTo>
                        <a:pt x="62" y="134"/>
                      </a:lnTo>
                      <a:lnTo>
                        <a:pt x="46" y="112"/>
                      </a:lnTo>
                      <a:lnTo>
                        <a:pt x="32" y="88"/>
                      </a:lnTo>
                      <a:lnTo>
                        <a:pt x="20" y="62"/>
                      </a:lnTo>
                      <a:lnTo>
                        <a:pt x="8" y="36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6" y="46"/>
                      </a:lnTo>
                      <a:lnTo>
                        <a:pt x="14" y="74"/>
                      </a:lnTo>
                      <a:lnTo>
                        <a:pt x="26" y="102"/>
                      </a:lnTo>
                      <a:lnTo>
                        <a:pt x="40" y="130"/>
                      </a:lnTo>
                      <a:lnTo>
                        <a:pt x="56" y="156"/>
                      </a:lnTo>
                      <a:lnTo>
                        <a:pt x="74" y="180"/>
                      </a:lnTo>
                      <a:lnTo>
                        <a:pt x="92" y="202"/>
                      </a:lnTo>
                      <a:lnTo>
                        <a:pt x="114" y="222"/>
                      </a:lnTo>
                      <a:lnTo>
                        <a:pt x="136" y="242"/>
                      </a:lnTo>
                      <a:lnTo>
                        <a:pt x="160" y="260"/>
                      </a:lnTo>
                      <a:lnTo>
                        <a:pt x="184" y="274"/>
                      </a:lnTo>
                      <a:lnTo>
                        <a:pt x="210" y="286"/>
                      </a:lnTo>
                      <a:lnTo>
                        <a:pt x="236" y="296"/>
                      </a:lnTo>
                      <a:lnTo>
                        <a:pt x="262" y="304"/>
                      </a:lnTo>
                      <a:lnTo>
                        <a:pt x="290" y="308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6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0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2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6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28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2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4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10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6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38" y="308"/>
                      </a:lnTo>
                      <a:lnTo>
                        <a:pt x="364" y="306"/>
                      </a:lnTo>
                      <a:lnTo>
                        <a:pt x="388" y="300"/>
                      </a:lnTo>
                      <a:lnTo>
                        <a:pt x="412" y="292"/>
                      </a:lnTo>
                      <a:lnTo>
                        <a:pt x="436" y="282"/>
                      </a:lnTo>
                      <a:lnTo>
                        <a:pt x="460" y="270"/>
                      </a:lnTo>
                      <a:lnTo>
                        <a:pt x="482" y="256"/>
                      </a:lnTo>
                      <a:lnTo>
                        <a:pt x="504" y="240"/>
                      </a:lnTo>
                      <a:lnTo>
                        <a:pt x="524" y="222"/>
                      </a:lnTo>
                      <a:lnTo>
                        <a:pt x="544" y="202"/>
                      </a:lnTo>
                      <a:lnTo>
                        <a:pt x="562" y="180"/>
                      </a:lnTo>
                      <a:lnTo>
                        <a:pt x="578" y="158"/>
                      </a:lnTo>
                      <a:lnTo>
                        <a:pt x="592" y="134"/>
                      </a:lnTo>
                      <a:lnTo>
                        <a:pt x="606" y="108"/>
                      </a:lnTo>
                      <a:lnTo>
                        <a:pt x="616" y="80"/>
                      </a:lnTo>
                      <a:lnTo>
                        <a:pt x="626" y="50"/>
                      </a:lnTo>
                      <a:lnTo>
                        <a:pt x="632" y="20"/>
                      </a:lnTo>
                      <a:lnTo>
                        <a:pt x="634" y="16"/>
                      </a:lnTo>
                      <a:lnTo>
                        <a:pt x="63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3" name="Freeform 2475">
                  <a:extLst>
                    <a:ext uri="{FF2B5EF4-FFF2-40B4-BE49-F238E27FC236}">
                      <a16:creationId xmlns:a16="http://schemas.microsoft.com/office/drawing/2014/main" id="{F9321455-737A-4026-B48F-EE3E2D2505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7325" y="7875761"/>
                  <a:ext cx="76200" cy="76200"/>
                </a:xfrm>
                <a:custGeom>
                  <a:avLst/>
                  <a:gdLst>
                    <a:gd name="T0" fmla="*/ 0 w 48"/>
                    <a:gd name="T1" fmla="*/ 24 h 48"/>
                    <a:gd name="T2" fmla="*/ 0 w 48"/>
                    <a:gd name="T3" fmla="*/ 24 h 48"/>
                    <a:gd name="T4" fmla="*/ 2 w 48"/>
                    <a:gd name="T5" fmla="*/ 32 h 48"/>
                    <a:gd name="T6" fmla="*/ 6 w 48"/>
                    <a:gd name="T7" fmla="*/ 40 h 48"/>
                    <a:gd name="T8" fmla="*/ 14 w 48"/>
                    <a:gd name="T9" fmla="*/ 46 h 48"/>
                    <a:gd name="T10" fmla="*/ 24 w 48"/>
                    <a:gd name="T11" fmla="*/ 48 h 48"/>
                    <a:gd name="T12" fmla="*/ 24 w 48"/>
                    <a:gd name="T13" fmla="*/ 48 h 48"/>
                    <a:gd name="T14" fmla="*/ 32 w 48"/>
                    <a:gd name="T15" fmla="*/ 46 h 48"/>
                    <a:gd name="T16" fmla="*/ 40 w 48"/>
                    <a:gd name="T17" fmla="*/ 40 h 48"/>
                    <a:gd name="T18" fmla="*/ 46 w 48"/>
                    <a:gd name="T19" fmla="*/ 32 h 48"/>
                    <a:gd name="T20" fmla="*/ 48 w 48"/>
                    <a:gd name="T21" fmla="*/ 24 h 48"/>
                    <a:gd name="T22" fmla="*/ 48 w 48"/>
                    <a:gd name="T23" fmla="*/ 24 h 48"/>
                    <a:gd name="T24" fmla="*/ 46 w 48"/>
                    <a:gd name="T25" fmla="*/ 14 h 48"/>
                    <a:gd name="T26" fmla="*/ 40 w 48"/>
                    <a:gd name="T27" fmla="*/ 6 h 48"/>
                    <a:gd name="T28" fmla="*/ 32 w 48"/>
                    <a:gd name="T29" fmla="*/ 2 h 48"/>
                    <a:gd name="T30" fmla="*/ 24 w 48"/>
                    <a:gd name="T31" fmla="*/ 0 h 48"/>
                    <a:gd name="T32" fmla="*/ 24 w 48"/>
                    <a:gd name="T33" fmla="*/ 0 h 48"/>
                    <a:gd name="T34" fmla="*/ 14 w 48"/>
                    <a:gd name="T35" fmla="*/ 2 h 48"/>
                    <a:gd name="T36" fmla="*/ 6 w 48"/>
                    <a:gd name="T37" fmla="*/ 6 h 48"/>
                    <a:gd name="T38" fmla="*/ 2 w 48"/>
                    <a:gd name="T39" fmla="*/ 14 h 48"/>
                    <a:gd name="T40" fmla="*/ 0 w 48"/>
                    <a:gd name="T41" fmla="*/ 24 h 48"/>
                    <a:gd name="T42" fmla="*/ 0 w 48"/>
                    <a:gd name="T43" fmla="*/ 2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8" h="48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2" y="32"/>
                      </a:lnTo>
                      <a:lnTo>
                        <a:pt x="6" y="40"/>
                      </a:lnTo>
                      <a:lnTo>
                        <a:pt x="14" y="46"/>
                      </a:lnTo>
                      <a:lnTo>
                        <a:pt x="24" y="48"/>
                      </a:lnTo>
                      <a:lnTo>
                        <a:pt x="24" y="48"/>
                      </a:lnTo>
                      <a:lnTo>
                        <a:pt x="32" y="46"/>
                      </a:lnTo>
                      <a:lnTo>
                        <a:pt x="40" y="40"/>
                      </a:lnTo>
                      <a:lnTo>
                        <a:pt x="46" y="32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6" y="14"/>
                      </a:lnTo>
                      <a:lnTo>
                        <a:pt x="40" y="6"/>
                      </a:lnTo>
                      <a:lnTo>
                        <a:pt x="32" y="2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14" y="2"/>
                      </a:lnTo>
                      <a:lnTo>
                        <a:pt x="6" y="6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4" name="Freeform 2476">
                  <a:extLst>
                    <a:ext uri="{FF2B5EF4-FFF2-40B4-BE49-F238E27FC236}">
                      <a16:creationId xmlns:a16="http://schemas.microsoft.com/office/drawing/2014/main" id="{2FF0C615-08C5-4FFF-9A5C-303E99D671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8050" y="7875761"/>
                  <a:ext cx="76200" cy="76200"/>
                </a:xfrm>
                <a:custGeom>
                  <a:avLst/>
                  <a:gdLst>
                    <a:gd name="T0" fmla="*/ 0 w 48"/>
                    <a:gd name="T1" fmla="*/ 24 h 48"/>
                    <a:gd name="T2" fmla="*/ 0 w 48"/>
                    <a:gd name="T3" fmla="*/ 24 h 48"/>
                    <a:gd name="T4" fmla="*/ 2 w 48"/>
                    <a:gd name="T5" fmla="*/ 32 h 48"/>
                    <a:gd name="T6" fmla="*/ 8 w 48"/>
                    <a:gd name="T7" fmla="*/ 40 h 48"/>
                    <a:gd name="T8" fmla="*/ 14 w 48"/>
                    <a:gd name="T9" fmla="*/ 46 h 48"/>
                    <a:gd name="T10" fmla="*/ 24 w 48"/>
                    <a:gd name="T11" fmla="*/ 48 h 48"/>
                    <a:gd name="T12" fmla="*/ 24 w 48"/>
                    <a:gd name="T13" fmla="*/ 48 h 48"/>
                    <a:gd name="T14" fmla="*/ 34 w 48"/>
                    <a:gd name="T15" fmla="*/ 46 h 48"/>
                    <a:gd name="T16" fmla="*/ 42 w 48"/>
                    <a:gd name="T17" fmla="*/ 40 h 48"/>
                    <a:gd name="T18" fmla="*/ 46 w 48"/>
                    <a:gd name="T19" fmla="*/ 32 h 48"/>
                    <a:gd name="T20" fmla="*/ 48 w 48"/>
                    <a:gd name="T21" fmla="*/ 24 h 48"/>
                    <a:gd name="T22" fmla="*/ 48 w 48"/>
                    <a:gd name="T23" fmla="*/ 24 h 48"/>
                    <a:gd name="T24" fmla="*/ 46 w 48"/>
                    <a:gd name="T25" fmla="*/ 14 h 48"/>
                    <a:gd name="T26" fmla="*/ 42 w 48"/>
                    <a:gd name="T27" fmla="*/ 6 h 48"/>
                    <a:gd name="T28" fmla="*/ 34 w 48"/>
                    <a:gd name="T29" fmla="*/ 2 h 48"/>
                    <a:gd name="T30" fmla="*/ 24 w 48"/>
                    <a:gd name="T31" fmla="*/ 0 h 48"/>
                    <a:gd name="T32" fmla="*/ 24 w 48"/>
                    <a:gd name="T33" fmla="*/ 0 h 48"/>
                    <a:gd name="T34" fmla="*/ 14 w 48"/>
                    <a:gd name="T35" fmla="*/ 2 h 48"/>
                    <a:gd name="T36" fmla="*/ 8 w 48"/>
                    <a:gd name="T37" fmla="*/ 6 h 48"/>
                    <a:gd name="T38" fmla="*/ 2 w 48"/>
                    <a:gd name="T39" fmla="*/ 14 h 48"/>
                    <a:gd name="T40" fmla="*/ 0 w 48"/>
                    <a:gd name="T41" fmla="*/ 24 h 48"/>
                    <a:gd name="T42" fmla="*/ 0 w 48"/>
                    <a:gd name="T43" fmla="*/ 2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8" h="48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2" y="32"/>
                      </a:lnTo>
                      <a:lnTo>
                        <a:pt x="8" y="40"/>
                      </a:lnTo>
                      <a:lnTo>
                        <a:pt x="14" y="46"/>
                      </a:lnTo>
                      <a:lnTo>
                        <a:pt x="24" y="48"/>
                      </a:lnTo>
                      <a:lnTo>
                        <a:pt x="24" y="48"/>
                      </a:lnTo>
                      <a:lnTo>
                        <a:pt x="34" y="46"/>
                      </a:lnTo>
                      <a:lnTo>
                        <a:pt x="42" y="40"/>
                      </a:lnTo>
                      <a:lnTo>
                        <a:pt x="46" y="32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6" y="14"/>
                      </a:lnTo>
                      <a:lnTo>
                        <a:pt x="42" y="6"/>
                      </a:lnTo>
                      <a:lnTo>
                        <a:pt x="34" y="2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14" y="2"/>
                      </a:lnTo>
                      <a:lnTo>
                        <a:pt x="8" y="6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5" name="Freeform 2477">
                  <a:extLst>
                    <a:ext uri="{FF2B5EF4-FFF2-40B4-BE49-F238E27FC236}">
                      <a16:creationId xmlns:a16="http://schemas.microsoft.com/office/drawing/2014/main" id="{3CDF1151-7D17-4918-BB2F-FF0C30E1C6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5700" y="8120236"/>
                  <a:ext cx="155575" cy="76200"/>
                </a:xfrm>
                <a:custGeom>
                  <a:avLst/>
                  <a:gdLst>
                    <a:gd name="T0" fmla="*/ 84 w 98"/>
                    <a:gd name="T1" fmla="*/ 4 h 48"/>
                    <a:gd name="T2" fmla="*/ 84 w 98"/>
                    <a:gd name="T3" fmla="*/ 4 h 48"/>
                    <a:gd name="T4" fmla="*/ 84 w 98"/>
                    <a:gd name="T5" fmla="*/ 4 h 48"/>
                    <a:gd name="T6" fmla="*/ 80 w 98"/>
                    <a:gd name="T7" fmla="*/ 10 h 48"/>
                    <a:gd name="T8" fmla="*/ 70 w 98"/>
                    <a:gd name="T9" fmla="*/ 20 h 48"/>
                    <a:gd name="T10" fmla="*/ 70 w 98"/>
                    <a:gd name="T11" fmla="*/ 20 h 48"/>
                    <a:gd name="T12" fmla="*/ 64 w 98"/>
                    <a:gd name="T13" fmla="*/ 24 h 48"/>
                    <a:gd name="T14" fmla="*/ 58 w 98"/>
                    <a:gd name="T15" fmla="*/ 28 h 48"/>
                    <a:gd name="T16" fmla="*/ 48 w 98"/>
                    <a:gd name="T17" fmla="*/ 30 h 48"/>
                    <a:gd name="T18" fmla="*/ 38 w 98"/>
                    <a:gd name="T19" fmla="*/ 32 h 48"/>
                    <a:gd name="T20" fmla="*/ 38 w 98"/>
                    <a:gd name="T21" fmla="*/ 32 h 48"/>
                    <a:gd name="T22" fmla="*/ 26 w 98"/>
                    <a:gd name="T23" fmla="*/ 30 h 48"/>
                    <a:gd name="T24" fmla="*/ 12 w 98"/>
                    <a:gd name="T25" fmla="*/ 24 h 48"/>
                    <a:gd name="T26" fmla="*/ 12 w 98"/>
                    <a:gd name="T27" fmla="*/ 24 h 48"/>
                    <a:gd name="T28" fmla="*/ 10 w 98"/>
                    <a:gd name="T29" fmla="*/ 24 h 48"/>
                    <a:gd name="T30" fmla="*/ 6 w 98"/>
                    <a:gd name="T31" fmla="*/ 24 h 48"/>
                    <a:gd name="T32" fmla="*/ 4 w 98"/>
                    <a:gd name="T33" fmla="*/ 26 h 48"/>
                    <a:gd name="T34" fmla="*/ 2 w 98"/>
                    <a:gd name="T35" fmla="*/ 28 h 48"/>
                    <a:gd name="T36" fmla="*/ 2 w 98"/>
                    <a:gd name="T37" fmla="*/ 28 h 48"/>
                    <a:gd name="T38" fmla="*/ 0 w 98"/>
                    <a:gd name="T39" fmla="*/ 32 h 48"/>
                    <a:gd name="T40" fmla="*/ 2 w 98"/>
                    <a:gd name="T41" fmla="*/ 34 h 48"/>
                    <a:gd name="T42" fmla="*/ 2 w 98"/>
                    <a:gd name="T43" fmla="*/ 38 h 48"/>
                    <a:gd name="T44" fmla="*/ 6 w 98"/>
                    <a:gd name="T45" fmla="*/ 40 h 48"/>
                    <a:gd name="T46" fmla="*/ 6 w 98"/>
                    <a:gd name="T47" fmla="*/ 40 h 48"/>
                    <a:gd name="T48" fmla="*/ 22 w 98"/>
                    <a:gd name="T49" fmla="*/ 46 h 48"/>
                    <a:gd name="T50" fmla="*/ 38 w 98"/>
                    <a:gd name="T51" fmla="*/ 48 h 48"/>
                    <a:gd name="T52" fmla="*/ 38 w 98"/>
                    <a:gd name="T53" fmla="*/ 48 h 48"/>
                    <a:gd name="T54" fmla="*/ 52 w 98"/>
                    <a:gd name="T55" fmla="*/ 46 h 48"/>
                    <a:gd name="T56" fmla="*/ 64 w 98"/>
                    <a:gd name="T57" fmla="*/ 42 h 48"/>
                    <a:gd name="T58" fmla="*/ 74 w 98"/>
                    <a:gd name="T59" fmla="*/ 36 h 48"/>
                    <a:gd name="T60" fmla="*/ 82 w 98"/>
                    <a:gd name="T61" fmla="*/ 30 h 48"/>
                    <a:gd name="T62" fmla="*/ 82 w 98"/>
                    <a:gd name="T63" fmla="*/ 30 h 48"/>
                    <a:gd name="T64" fmla="*/ 94 w 98"/>
                    <a:gd name="T65" fmla="*/ 18 h 48"/>
                    <a:gd name="T66" fmla="*/ 98 w 98"/>
                    <a:gd name="T67" fmla="*/ 12 h 48"/>
                    <a:gd name="T68" fmla="*/ 98 w 98"/>
                    <a:gd name="T69" fmla="*/ 12 h 48"/>
                    <a:gd name="T70" fmla="*/ 98 w 98"/>
                    <a:gd name="T71" fmla="*/ 10 h 48"/>
                    <a:gd name="T72" fmla="*/ 98 w 98"/>
                    <a:gd name="T73" fmla="*/ 6 h 48"/>
                    <a:gd name="T74" fmla="*/ 96 w 98"/>
                    <a:gd name="T75" fmla="*/ 4 h 48"/>
                    <a:gd name="T76" fmla="*/ 94 w 98"/>
                    <a:gd name="T77" fmla="*/ 2 h 48"/>
                    <a:gd name="T78" fmla="*/ 94 w 98"/>
                    <a:gd name="T79" fmla="*/ 2 h 48"/>
                    <a:gd name="T80" fmla="*/ 92 w 98"/>
                    <a:gd name="T81" fmla="*/ 0 h 48"/>
                    <a:gd name="T82" fmla="*/ 88 w 98"/>
                    <a:gd name="T83" fmla="*/ 2 h 48"/>
                    <a:gd name="T84" fmla="*/ 86 w 98"/>
                    <a:gd name="T85" fmla="*/ 2 h 48"/>
                    <a:gd name="T86" fmla="*/ 84 w 98"/>
                    <a:gd name="T87" fmla="*/ 4 h 48"/>
                    <a:gd name="T88" fmla="*/ 84 w 98"/>
                    <a:gd name="T89" fmla="*/ 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8" h="48">
                      <a:moveTo>
                        <a:pt x="84" y="4"/>
                      </a:move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0" y="10"/>
                      </a:lnTo>
                      <a:lnTo>
                        <a:pt x="70" y="20"/>
                      </a:lnTo>
                      <a:lnTo>
                        <a:pt x="70" y="20"/>
                      </a:lnTo>
                      <a:lnTo>
                        <a:pt x="64" y="24"/>
                      </a:lnTo>
                      <a:lnTo>
                        <a:pt x="58" y="28"/>
                      </a:lnTo>
                      <a:lnTo>
                        <a:pt x="48" y="30"/>
                      </a:lnTo>
                      <a:lnTo>
                        <a:pt x="38" y="32"/>
                      </a:lnTo>
                      <a:lnTo>
                        <a:pt x="38" y="32"/>
                      </a:lnTo>
                      <a:lnTo>
                        <a:pt x="26" y="30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6" y="24"/>
                      </a:lnTo>
                      <a:lnTo>
                        <a:pt x="4" y="26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0" y="32"/>
                      </a:lnTo>
                      <a:lnTo>
                        <a:pt x="2" y="34"/>
                      </a:lnTo>
                      <a:lnTo>
                        <a:pt x="2" y="38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22" y="46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52" y="46"/>
                      </a:lnTo>
                      <a:lnTo>
                        <a:pt x="64" y="42"/>
                      </a:lnTo>
                      <a:lnTo>
                        <a:pt x="74" y="36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94" y="18"/>
                      </a:lnTo>
                      <a:lnTo>
                        <a:pt x="98" y="12"/>
                      </a:lnTo>
                      <a:lnTo>
                        <a:pt x="98" y="12"/>
                      </a:lnTo>
                      <a:lnTo>
                        <a:pt x="98" y="10"/>
                      </a:lnTo>
                      <a:lnTo>
                        <a:pt x="98" y="6"/>
                      </a:lnTo>
                      <a:lnTo>
                        <a:pt x="96" y="4"/>
                      </a:lnTo>
                      <a:lnTo>
                        <a:pt x="94" y="2"/>
                      </a:lnTo>
                      <a:lnTo>
                        <a:pt x="94" y="2"/>
                      </a:lnTo>
                      <a:lnTo>
                        <a:pt x="92" y="0"/>
                      </a:lnTo>
                      <a:lnTo>
                        <a:pt x="88" y="2"/>
                      </a:lnTo>
                      <a:lnTo>
                        <a:pt x="86" y="2"/>
                      </a:lnTo>
                      <a:lnTo>
                        <a:pt x="84" y="4"/>
                      </a:lnTo>
                      <a:lnTo>
                        <a:pt x="84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6" name="Freeform 2478">
                  <a:extLst>
                    <a:ext uri="{FF2B5EF4-FFF2-40B4-BE49-F238E27FC236}">
                      <a16:creationId xmlns:a16="http://schemas.microsoft.com/office/drawing/2014/main" id="{978D314D-51CD-4084-AF1F-852B884EBE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8975" y="7272511"/>
                  <a:ext cx="1054100" cy="561975"/>
                </a:xfrm>
                <a:custGeom>
                  <a:avLst/>
                  <a:gdLst>
                    <a:gd name="T0" fmla="*/ 652 w 664"/>
                    <a:gd name="T1" fmla="*/ 352 h 354"/>
                    <a:gd name="T2" fmla="*/ 616 w 664"/>
                    <a:gd name="T3" fmla="*/ 354 h 354"/>
                    <a:gd name="T4" fmla="*/ 556 w 664"/>
                    <a:gd name="T5" fmla="*/ 116 h 354"/>
                    <a:gd name="T6" fmla="*/ 228 w 664"/>
                    <a:gd name="T7" fmla="*/ 354 h 354"/>
                    <a:gd name="T8" fmla="*/ 14 w 664"/>
                    <a:gd name="T9" fmla="*/ 354 h 354"/>
                    <a:gd name="T10" fmla="*/ 0 w 664"/>
                    <a:gd name="T11" fmla="*/ 56 h 354"/>
                    <a:gd name="T12" fmla="*/ 354 w 664"/>
                    <a:gd name="T13" fmla="*/ 0 h 354"/>
                    <a:gd name="T14" fmla="*/ 664 w 664"/>
                    <a:gd name="T15" fmla="*/ 66 h 354"/>
                    <a:gd name="T16" fmla="*/ 652 w 664"/>
                    <a:gd name="T17" fmla="*/ 352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4" h="354">
                      <a:moveTo>
                        <a:pt x="652" y="352"/>
                      </a:moveTo>
                      <a:lnTo>
                        <a:pt x="616" y="354"/>
                      </a:lnTo>
                      <a:lnTo>
                        <a:pt x="556" y="116"/>
                      </a:lnTo>
                      <a:lnTo>
                        <a:pt x="228" y="354"/>
                      </a:lnTo>
                      <a:lnTo>
                        <a:pt x="14" y="354"/>
                      </a:lnTo>
                      <a:lnTo>
                        <a:pt x="0" y="56"/>
                      </a:lnTo>
                      <a:lnTo>
                        <a:pt x="354" y="0"/>
                      </a:lnTo>
                      <a:lnTo>
                        <a:pt x="664" y="66"/>
                      </a:lnTo>
                      <a:lnTo>
                        <a:pt x="652" y="352"/>
                      </a:lnTo>
                      <a:close/>
                    </a:path>
                  </a:pathLst>
                </a:custGeom>
                <a:solidFill>
                  <a:srgbClr val="FFE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7" name="Freeform 2479">
                  <a:extLst>
                    <a:ext uri="{FF2B5EF4-FFF2-40B4-BE49-F238E27FC236}">
                      <a16:creationId xmlns:a16="http://schemas.microsoft.com/office/drawing/2014/main" id="{60355743-CA8F-496F-A5EE-55F7880690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8975" y="7272511"/>
                  <a:ext cx="1054100" cy="561975"/>
                </a:xfrm>
                <a:custGeom>
                  <a:avLst/>
                  <a:gdLst>
                    <a:gd name="T0" fmla="*/ 652 w 664"/>
                    <a:gd name="T1" fmla="*/ 352 h 354"/>
                    <a:gd name="T2" fmla="*/ 616 w 664"/>
                    <a:gd name="T3" fmla="*/ 354 h 354"/>
                    <a:gd name="T4" fmla="*/ 556 w 664"/>
                    <a:gd name="T5" fmla="*/ 116 h 354"/>
                    <a:gd name="T6" fmla="*/ 228 w 664"/>
                    <a:gd name="T7" fmla="*/ 354 h 354"/>
                    <a:gd name="T8" fmla="*/ 14 w 664"/>
                    <a:gd name="T9" fmla="*/ 354 h 354"/>
                    <a:gd name="T10" fmla="*/ 0 w 664"/>
                    <a:gd name="T11" fmla="*/ 56 h 354"/>
                    <a:gd name="T12" fmla="*/ 354 w 664"/>
                    <a:gd name="T13" fmla="*/ 0 h 354"/>
                    <a:gd name="T14" fmla="*/ 664 w 664"/>
                    <a:gd name="T15" fmla="*/ 66 h 354"/>
                    <a:gd name="T16" fmla="*/ 652 w 664"/>
                    <a:gd name="T17" fmla="*/ 352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4" h="354">
                      <a:moveTo>
                        <a:pt x="652" y="352"/>
                      </a:moveTo>
                      <a:lnTo>
                        <a:pt x="616" y="354"/>
                      </a:lnTo>
                      <a:lnTo>
                        <a:pt x="556" y="116"/>
                      </a:lnTo>
                      <a:lnTo>
                        <a:pt x="228" y="354"/>
                      </a:lnTo>
                      <a:lnTo>
                        <a:pt x="14" y="354"/>
                      </a:lnTo>
                      <a:lnTo>
                        <a:pt x="0" y="56"/>
                      </a:lnTo>
                      <a:lnTo>
                        <a:pt x="354" y="0"/>
                      </a:lnTo>
                      <a:lnTo>
                        <a:pt x="664" y="66"/>
                      </a:lnTo>
                      <a:lnTo>
                        <a:pt x="652" y="352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8" name="Freeform 2480">
                  <a:extLst>
                    <a:ext uri="{FF2B5EF4-FFF2-40B4-BE49-F238E27FC236}">
                      <a16:creationId xmlns:a16="http://schemas.microsoft.com/office/drawing/2014/main" id="{B6F5B1D7-B2FB-4EBD-A93F-ABDD5EB170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3475" y="8018636"/>
                  <a:ext cx="165100" cy="41275"/>
                </a:xfrm>
                <a:custGeom>
                  <a:avLst/>
                  <a:gdLst>
                    <a:gd name="T0" fmla="*/ 8 w 104"/>
                    <a:gd name="T1" fmla="*/ 0 h 26"/>
                    <a:gd name="T2" fmla="*/ 8 w 104"/>
                    <a:gd name="T3" fmla="*/ 0 h 26"/>
                    <a:gd name="T4" fmla="*/ 4 w 104"/>
                    <a:gd name="T5" fmla="*/ 0 h 26"/>
                    <a:gd name="T6" fmla="*/ 2 w 104"/>
                    <a:gd name="T7" fmla="*/ 2 h 26"/>
                    <a:gd name="T8" fmla="*/ 2 w 104"/>
                    <a:gd name="T9" fmla="*/ 2 h 26"/>
                    <a:gd name="T10" fmla="*/ 0 w 104"/>
                    <a:gd name="T11" fmla="*/ 6 h 26"/>
                    <a:gd name="T12" fmla="*/ 0 w 104"/>
                    <a:gd name="T13" fmla="*/ 8 h 26"/>
                    <a:gd name="T14" fmla="*/ 2 w 104"/>
                    <a:gd name="T15" fmla="*/ 12 h 26"/>
                    <a:gd name="T16" fmla="*/ 4 w 104"/>
                    <a:gd name="T17" fmla="*/ 14 h 26"/>
                    <a:gd name="T18" fmla="*/ 4 w 104"/>
                    <a:gd name="T19" fmla="*/ 14 h 26"/>
                    <a:gd name="T20" fmla="*/ 8 w 104"/>
                    <a:gd name="T21" fmla="*/ 16 h 26"/>
                    <a:gd name="T22" fmla="*/ 18 w 104"/>
                    <a:gd name="T23" fmla="*/ 20 h 26"/>
                    <a:gd name="T24" fmla="*/ 32 w 104"/>
                    <a:gd name="T25" fmla="*/ 24 h 26"/>
                    <a:gd name="T26" fmla="*/ 52 w 104"/>
                    <a:gd name="T27" fmla="*/ 26 h 26"/>
                    <a:gd name="T28" fmla="*/ 52 w 104"/>
                    <a:gd name="T29" fmla="*/ 26 h 26"/>
                    <a:gd name="T30" fmla="*/ 72 w 104"/>
                    <a:gd name="T31" fmla="*/ 24 h 26"/>
                    <a:gd name="T32" fmla="*/ 88 w 104"/>
                    <a:gd name="T33" fmla="*/ 20 h 26"/>
                    <a:gd name="T34" fmla="*/ 98 w 104"/>
                    <a:gd name="T35" fmla="*/ 16 h 26"/>
                    <a:gd name="T36" fmla="*/ 102 w 104"/>
                    <a:gd name="T37" fmla="*/ 14 h 26"/>
                    <a:gd name="T38" fmla="*/ 102 w 104"/>
                    <a:gd name="T39" fmla="*/ 14 h 26"/>
                    <a:gd name="T40" fmla="*/ 104 w 104"/>
                    <a:gd name="T41" fmla="*/ 12 h 26"/>
                    <a:gd name="T42" fmla="*/ 104 w 104"/>
                    <a:gd name="T43" fmla="*/ 8 h 26"/>
                    <a:gd name="T44" fmla="*/ 104 w 104"/>
                    <a:gd name="T45" fmla="*/ 6 h 26"/>
                    <a:gd name="T46" fmla="*/ 104 w 104"/>
                    <a:gd name="T47" fmla="*/ 2 h 26"/>
                    <a:gd name="T48" fmla="*/ 104 w 104"/>
                    <a:gd name="T49" fmla="*/ 2 h 26"/>
                    <a:gd name="T50" fmla="*/ 100 w 104"/>
                    <a:gd name="T51" fmla="*/ 0 h 26"/>
                    <a:gd name="T52" fmla="*/ 96 w 104"/>
                    <a:gd name="T53" fmla="*/ 0 h 26"/>
                    <a:gd name="T54" fmla="*/ 96 w 104"/>
                    <a:gd name="T55" fmla="*/ 0 h 26"/>
                    <a:gd name="T56" fmla="*/ 92 w 104"/>
                    <a:gd name="T57" fmla="*/ 0 h 26"/>
                    <a:gd name="T58" fmla="*/ 92 w 104"/>
                    <a:gd name="T59" fmla="*/ 0 h 26"/>
                    <a:gd name="T60" fmla="*/ 92 w 104"/>
                    <a:gd name="T61" fmla="*/ 0 h 26"/>
                    <a:gd name="T62" fmla="*/ 82 w 104"/>
                    <a:gd name="T63" fmla="*/ 6 h 26"/>
                    <a:gd name="T64" fmla="*/ 70 w 104"/>
                    <a:gd name="T65" fmla="*/ 8 h 26"/>
                    <a:gd name="T66" fmla="*/ 52 w 104"/>
                    <a:gd name="T67" fmla="*/ 10 h 26"/>
                    <a:gd name="T68" fmla="*/ 52 w 104"/>
                    <a:gd name="T69" fmla="*/ 10 h 26"/>
                    <a:gd name="T70" fmla="*/ 36 w 104"/>
                    <a:gd name="T71" fmla="*/ 8 h 26"/>
                    <a:gd name="T72" fmla="*/ 22 w 104"/>
                    <a:gd name="T73" fmla="*/ 6 h 26"/>
                    <a:gd name="T74" fmla="*/ 22 w 104"/>
                    <a:gd name="T75" fmla="*/ 6 h 26"/>
                    <a:gd name="T76" fmla="*/ 14 w 104"/>
                    <a:gd name="T77" fmla="*/ 2 h 26"/>
                    <a:gd name="T78" fmla="*/ 14 w 104"/>
                    <a:gd name="T79" fmla="*/ 2 h 26"/>
                    <a:gd name="T80" fmla="*/ 14 w 104"/>
                    <a:gd name="T81" fmla="*/ 0 h 26"/>
                    <a:gd name="T82" fmla="*/ 12 w 104"/>
                    <a:gd name="T83" fmla="*/ 0 h 26"/>
                    <a:gd name="T84" fmla="*/ 12 w 104"/>
                    <a:gd name="T85" fmla="*/ 0 h 26"/>
                    <a:gd name="T86" fmla="*/ 12 w 104"/>
                    <a:gd name="T87" fmla="*/ 0 h 26"/>
                    <a:gd name="T88" fmla="*/ 12 w 104"/>
                    <a:gd name="T89" fmla="*/ 0 h 26"/>
                    <a:gd name="T90" fmla="*/ 12 w 104"/>
                    <a:gd name="T91" fmla="*/ 0 h 26"/>
                    <a:gd name="T92" fmla="*/ 12 w 104"/>
                    <a:gd name="T93" fmla="*/ 0 h 26"/>
                    <a:gd name="T94" fmla="*/ 12 w 104"/>
                    <a:gd name="T95" fmla="*/ 0 h 26"/>
                    <a:gd name="T96" fmla="*/ 8 w 104"/>
                    <a:gd name="T9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04" h="2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6"/>
                      </a:lnTo>
                      <a:lnTo>
                        <a:pt x="18" y="20"/>
                      </a:lnTo>
                      <a:lnTo>
                        <a:pt x="32" y="24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72" y="24"/>
                      </a:lnTo>
                      <a:lnTo>
                        <a:pt x="88" y="20"/>
                      </a:lnTo>
                      <a:lnTo>
                        <a:pt x="98" y="16"/>
                      </a:lnTo>
                      <a:lnTo>
                        <a:pt x="102" y="14"/>
                      </a:lnTo>
                      <a:lnTo>
                        <a:pt x="102" y="14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6"/>
                      </a:ln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00" y="0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2" y="6"/>
                      </a:lnTo>
                      <a:lnTo>
                        <a:pt x="70" y="8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36" y="8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6E4E3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9" name="Freeform 2481">
                  <a:extLst>
                    <a:ext uri="{FF2B5EF4-FFF2-40B4-BE49-F238E27FC236}">
                      <a16:creationId xmlns:a16="http://schemas.microsoft.com/office/drawing/2014/main" id="{0CBBCED8-2233-4CBA-BA67-2B0F57357D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3475" y="8018636"/>
                  <a:ext cx="165100" cy="41275"/>
                </a:xfrm>
                <a:custGeom>
                  <a:avLst/>
                  <a:gdLst>
                    <a:gd name="T0" fmla="*/ 8 w 104"/>
                    <a:gd name="T1" fmla="*/ 0 h 26"/>
                    <a:gd name="T2" fmla="*/ 8 w 104"/>
                    <a:gd name="T3" fmla="*/ 0 h 26"/>
                    <a:gd name="T4" fmla="*/ 4 w 104"/>
                    <a:gd name="T5" fmla="*/ 0 h 26"/>
                    <a:gd name="T6" fmla="*/ 2 w 104"/>
                    <a:gd name="T7" fmla="*/ 2 h 26"/>
                    <a:gd name="T8" fmla="*/ 2 w 104"/>
                    <a:gd name="T9" fmla="*/ 2 h 26"/>
                    <a:gd name="T10" fmla="*/ 0 w 104"/>
                    <a:gd name="T11" fmla="*/ 6 h 26"/>
                    <a:gd name="T12" fmla="*/ 0 w 104"/>
                    <a:gd name="T13" fmla="*/ 8 h 26"/>
                    <a:gd name="T14" fmla="*/ 2 w 104"/>
                    <a:gd name="T15" fmla="*/ 12 h 26"/>
                    <a:gd name="T16" fmla="*/ 4 w 104"/>
                    <a:gd name="T17" fmla="*/ 14 h 26"/>
                    <a:gd name="T18" fmla="*/ 4 w 104"/>
                    <a:gd name="T19" fmla="*/ 14 h 26"/>
                    <a:gd name="T20" fmla="*/ 8 w 104"/>
                    <a:gd name="T21" fmla="*/ 16 h 26"/>
                    <a:gd name="T22" fmla="*/ 18 w 104"/>
                    <a:gd name="T23" fmla="*/ 20 h 26"/>
                    <a:gd name="T24" fmla="*/ 32 w 104"/>
                    <a:gd name="T25" fmla="*/ 24 h 26"/>
                    <a:gd name="T26" fmla="*/ 52 w 104"/>
                    <a:gd name="T27" fmla="*/ 26 h 26"/>
                    <a:gd name="T28" fmla="*/ 52 w 104"/>
                    <a:gd name="T29" fmla="*/ 26 h 26"/>
                    <a:gd name="T30" fmla="*/ 72 w 104"/>
                    <a:gd name="T31" fmla="*/ 24 h 26"/>
                    <a:gd name="T32" fmla="*/ 88 w 104"/>
                    <a:gd name="T33" fmla="*/ 20 h 26"/>
                    <a:gd name="T34" fmla="*/ 98 w 104"/>
                    <a:gd name="T35" fmla="*/ 16 h 26"/>
                    <a:gd name="T36" fmla="*/ 102 w 104"/>
                    <a:gd name="T37" fmla="*/ 14 h 26"/>
                    <a:gd name="T38" fmla="*/ 102 w 104"/>
                    <a:gd name="T39" fmla="*/ 14 h 26"/>
                    <a:gd name="T40" fmla="*/ 104 w 104"/>
                    <a:gd name="T41" fmla="*/ 12 h 26"/>
                    <a:gd name="T42" fmla="*/ 104 w 104"/>
                    <a:gd name="T43" fmla="*/ 8 h 26"/>
                    <a:gd name="T44" fmla="*/ 104 w 104"/>
                    <a:gd name="T45" fmla="*/ 6 h 26"/>
                    <a:gd name="T46" fmla="*/ 104 w 104"/>
                    <a:gd name="T47" fmla="*/ 2 h 26"/>
                    <a:gd name="T48" fmla="*/ 104 w 104"/>
                    <a:gd name="T49" fmla="*/ 2 h 26"/>
                    <a:gd name="T50" fmla="*/ 100 w 104"/>
                    <a:gd name="T51" fmla="*/ 0 h 26"/>
                    <a:gd name="T52" fmla="*/ 96 w 104"/>
                    <a:gd name="T53" fmla="*/ 0 h 26"/>
                    <a:gd name="T54" fmla="*/ 96 w 104"/>
                    <a:gd name="T55" fmla="*/ 0 h 26"/>
                    <a:gd name="T56" fmla="*/ 92 w 104"/>
                    <a:gd name="T57" fmla="*/ 0 h 26"/>
                    <a:gd name="T58" fmla="*/ 92 w 104"/>
                    <a:gd name="T59" fmla="*/ 0 h 26"/>
                    <a:gd name="T60" fmla="*/ 92 w 104"/>
                    <a:gd name="T61" fmla="*/ 0 h 26"/>
                    <a:gd name="T62" fmla="*/ 82 w 104"/>
                    <a:gd name="T63" fmla="*/ 6 h 26"/>
                    <a:gd name="T64" fmla="*/ 70 w 104"/>
                    <a:gd name="T65" fmla="*/ 8 h 26"/>
                    <a:gd name="T66" fmla="*/ 52 w 104"/>
                    <a:gd name="T67" fmla="*/ 10 h 26"/>
                    <a:gd name="T68" fmla="*/ 52 w 104"/>
                    <a:gd name="T69" fmla="*/ 10 h 26"/>
                    <a:gd name="T70" fmla="*/ 36 w 104"/>
                    <a:gd name="T71" fmla="*/ 8 h 26"/>
                    <a:gd name="T72" fmla="*/ 22 w 104"/>
                    <a:gd name="T73" fmla="*/ 6 h 26"/>
                    <a:gd name="T74" fmla="*/ 22 w 104"/>
                    <a:gd name="T75" fmla="*/ 6 h 26"/>
                    <a:gd name="T76" fmla="*/ 14 w 104"/>
                    <a:gd name="T77" fmla="*/ 2 h 26"/>
                    <a:gd name="T78" fmla="*/ 14 w 104"/>
                    <a:gd name="T79" fmla="*/ 2 h 26"/>
                    <a:gd name="T80" fmla="*/ 14 w 104"/>
                    <a:gd name="T81" fmla="*/ 0 h 26"/>
                    <a:gd name="T82" fmla="*/ 12 w 104"/>
                    <a:gd name="T83" fmla="*/ 0 h 26"/>
                    <a:gd name="T84" fmla="*/ 12 w 104"/>
                    <a:gd name="T85" fmla="*/ 0 h 26"/>
                    <a:gd name="T86" fmla="*/ 12 w 104"/>
                    <a:gd name="T87" fmla="*/ 0 h 26"/>
                    <a:gd name="T88" fmla="*/ 12 w 104"/>
                    <a:gd name="T89" fmla="*/ 0 h 26"/>
                    <a:gd name="T90" fmla="*/ 12 w 104"/>
                    <a:gd name="T91" fmla="*/ 0 h 26"/>
                    <a:gd name="T92" fmla="*/ 12 w 104"/>
                    <a:gd name="T93" fmla="*/ 0 h 26"/>
                    <a:gd name="T94" fmla="*/ 12 w 104"/>
                    <a:gd name="T95" fmla="*/ 0 h 26"/>
                    <a:gd name="T96" fmla="*/ 8 w 104"/>
                    <a:gd name="T9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04" h="2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6"/>
                      </a:lnTo>
                      <a:lnTo>
                        <a:pt x="18" y="20"/>
                      </a:lnTo>
                      <a:lnTo>
                        <a:pt x="32" y="24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72" y="24"/>
                      </a:lnTo>
                      <a:lnTo>
                        <a:pt x="88" y="20"/>
                      </a:lnTo>
                      <a:lnTo>
                        <a:pt x="98" y="16"/>
                      </a:lnTo>
                      <a:lnTo>
                        <a:pt x="102" y="14"/>
                      </a:lnTo>
                      <a:lnTo>
                        <a:pt x="102" y="14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6"/>
                      </a:ln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00" y="0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2" y="6"/>
                      </a:lnTo>
                      <a:lnTo>
                        <a:pt x="70" y="8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36" y="8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0" name="Freeform 2482">
                  <a:extLst>
                    <a:ext uri="{FF2B5EF4-FFF2-40B4-BE49-F238E27FC236}">
                      <a16:creationId xmlns:a16="http://schemas.microsoft.com/office/drawing/2014/main" id="{871A5199-D7CD-4F8E-AEC5-E7DA09119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625" y="7075661"/>
                  <a:ext cx="371475" cy="266700"/>
                </a:xfrm>
                <a:custGeom>
                  <a:avLst/>
                  <a:gdLst>
                    <a:gd name="T0" fmla="*/ 226 w 234"/>
                    <a:gd name="T1" fmla="*/ 0 h 168"/>
                    <a:gd name="T2" fmla="*/ 226 w 234"/>
                    <a:gd name="T3" fmla="*/ 0 h 168"/>
                    <a:gd name="T4" fmla="*/ 226 w 234"/>
                    <a:gd name="T5" fmla="*/ 0 h 168"/>
                    <a:gd name="T6" fmla="*/ 226 w 234"/>
                    <a:gd name="T7" fmla="*/ 0 h 168"/>
                    <a:gd name="T8" fmla="*/ 208 w 234"/>
                    <a:gd name="T9" fmla="*/ 2 h 168"/>
                    <a:gd name="T10" fmla="*/ 190 w 234"/>
                    <a:gd name="T11" fmla="*/ 6 h 168"/>
                    <a:gd name="T12" fmla="*/ 172 w 234"/>
                    <a:gd name="T13" fmla="*/ 14 h 168"/>
                    <a:gd name="T14" fmla="*/ 154 w 234"/>
                    <a:gd name="T15" fmla="*/ 22 h 168"/>
                    <a:gd name="T16" fmla="*/ 136 w 234"/>
                    <a:gd name="T17" fmla="*/ 32 h 168"/>
                    <a:gd name="T18" fmla="*/ 118 w 234"/>
                    <a:gd name="T19" fmla="*/ 44 h 168"/>
                    <a:gd name="T20" fmla="*/ 82 w 234"/>
                    <a:gd name="T21" fmla="*/ 70 h 168"/>
                    <a:gd name="T22" fmla="*/ 82 w 234"/>
                    <a:gd name="T23" fmla="*/ 70 h 168"/>
                    <a:gd name="T24" fmla="*/ 58 w 234"/>
                    <a:gd name="T25" fmla="*/ 92 h 168"/>
                    <a:gd name="T26" fmla="*/ 36 w 234"/>
                    <a:gd name="T27" fmla="*/ 116 h 168"/>
                    <a:gd name="T28" fmla="*/ 16 w 234"/>
                    <a:gd name="T29" fmla="*/ 142 h 168"/>
                    <a:gd name="T30" fmla="*/ 0 w 234"/>
                    <a:gd name="T31" fmla="*/ 168 h 168"/>
                    <a:gd name="T32" fmla="*/ 20 w 234"/>
                    <a:gd name="T33" fmla="*/ 164 h 168"/>
                    <a:gd name="T34" fmla="*/ 20 w 234"/>
                    <a:gd name="T35" fmla="*/ 164 h 168"/>
                    <a:gd name="T36" fmla="*/ 34 w 234"/>
                    <a:gd name="T37" fmla="*/ 144 h 168"/>
                    <a:gd name="T38" fmla="*/ 52 w 234"/>
                    <a:gd name="T39" fmla="*/ 122 h 168"/>
                    <a:gd name="T40" fmla="*/ 72 w 234"/>
                    <a:gd name="T41" fmla="*/ 102 h 168"/>
                    <a:gd name="T42" fmla="*/ 92 w 234"/>
                    <a:gd name="T43" fmla="*/ 82 h 168"/>
                    <a:gd name="T44" fmla="*/ 92 w 234"/>
                    <a:gd name="T45" fmla="*/ 82 h 168"/>
                    <a:gd name="T46" fmla="*/ 126 w 234"/>
                    <a:gd name="T47" fmla="*/ 56 h 168"/>
                    <a:gd name="T48" fmla="*/ 144 w 234"/>
                    <a:gd name="T49" fmla="*/ 46 h 168"/>
                    <a:gd name="T50" fmla="*/ 160 w 234"/>
                    <a:gd name="T51" fmla="*/ 36 h 168"/>
                    <a:gd name="T52" fmla="*/ 178 w 234"/>
                    <a:gd name="T53" fmla="*/ 28 h 168"/>
                    <a:gd name="T54" fmla="*/ 196 w 234"/>
                    <a:gd name="T55" fmla="*/ 22 h 168"/>
                    <a:gd name="T56" fmla="*/ 212 w 234"/>
                    <a:gd name="T57" fmla="*/ 18 h 168"/>
                    <a:gd name="T58" fmla="*/ 228 w 234"/>
                    <a:gd name="T59" fmla="*/ 16 h 168"/>
                    <a:gd name="T60" fmla="*/ 228 w 234"/>
                    <a:gd name="T61" fmla="*/ 16 h 168"/>
                    <a:gd name="T62" fmla="*/ 230 w 234"/>
                    <a:gd name="T63" fmla="*/ 14 h 168"/>
                    <a:gd name="T64" fmla="*/ 234 w 234"/>
                    <a:gd name="T65" fmla="*/ 12 h 168"/>
                    <a:gd name="T66" fmla="*/ 234 w 234"/>
                    <a:gd name="T67" fmla="*/ 10 h 168"/>
                    <a:gd name="T68" fmla="*/ 234 w 234"/>
                    <a:gd name="T69" fmla="*/ 6 h 168"/>
                    <a:gd name="T70" fmla="*/ 234 w 234"/>
                    <a:gd name="T71" fmla="*/ 6 h 168"/>
                    <a:gd name="T72" fmla="*/ 232 w 234"/>
                    <a:gd name="T73" fmla="*/ 2 h 168"/>
                    <a:gd name="T74" fmla="*/ 226 w 234"/>
                    <a:gd name="T7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4" h="168">
                      <a:moveTo>
                        <a:pt x="226" y="0"/>
                      </a:move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08" y="2"/>
                      </a:lnTo>
                      <a:lnTo>
                        <a:pt x="190" y="6"/>
                      </a:lnTo>
                      <a:lnTo>
                        <a:pt x="172" y="14"/>
                      </a:lnTo>
                      <a:lnTo>
                        <a:pt x="154" y="22"/>
                      </a:lnTo>
                      <a:lnTo>
                        <a:pt x="136" y="32"/>
                      </a:lnTo>
                      <a:lnTo>
                        <a:pt x="118" y="44"/>
                      </a:lnTo>
                      <a:lnTo>
                        <a:pt x="82" y="70"/>
                      </a:lnTo>
                      <a:lnTo>
                        <a:pt x="82" y="70"/>
                      </a:lnTo>
                      <a:lnTo>
                        <a:pt x="58" y="92"/>
                      </a:lnTo>
                      <a:lnTo>
                        <a:pt x="36" y="116"/>
                      </a:lnTo>
                      <a:lnTo>
                        <a:pt x="16" y="142"/>
                      </a:lnTo>
                      <a:lnTo>
                        <a:pt x="0" y="168"/>
                      </a:lnTo>
                      <a:lnTo>
                        <a:pt x="20" y="164"/>
                      </a:lnTo>
                      <a:lnTo>
                        <a:pt x="20" y="164"/>
                      </a:lnTo>
                      <a:lnTo>
                        <a:pt x="34" y="144"/>
                      </a:lnTo>
                      <a:lnTo>
                        <a:pt x="52" y="122"/>
                      </a:lnTo>
                      <a:lnTo>
                        <a:pt x="72" y="102"/>
                      </a:lnTo>
                      <a:lnTo>
                        <a:pt x="92" y="82"/>
                      </a:lnTo>
                      <a:lnTo>
                        <a:pt x="92" y="82"/>
                      </a:lnTo>
                      <a:lnTo>
                        <a:pt x="126" y="56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78" y="28"/>
                      </a:lnTo>
                      <a:lnTo>
                        <a:pt x="196" y="22"/>
                      </a:lnTo>
                      <a:lnTo>
                        <a:pt x="212" y="18"/>
                      </a:lnTo>
                      <a:lnTo>
                        <a:pt x="228" y="16"/>
                      </a:lnTo>
                      <a:lnTo>
                        <a:pt x="228" y="16"/>
                      </a:lnTo>
                      <a:lnTo>
                        <a:pt x="230" y="14"/>
                      </a:lnTo>
                      <a:lnTo>
                        <a:pt x="234" y="12"/>
                      </a:lnTo>
                      <a:lnTo>
                        <a:pt x="234" y="10"/>
                      </a:lnTo>
                      <a:lnTo>
                        <a:pt x="234" y="6"/>
                      </a:lnTo>
                      <a:lnTo>
                        <a:pt x="234" y="6"/>
                      </a:lnTo>
                      <a:lnTo>
                        <a:pt x="232" y="2"/>
                      </a:lnTo>
                      <a:lnTo>
                        <a:pt x="226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1" name="Freeform 2483">
                  <a:extLst>
                    <a:ext uri="{FF2B5EF4-FFF2-40B4-BE49-F238E27FC236}">
                      <a16:creationId xmlns:a16="http://schemas.microsoft.com/office/drawing/2014/main" id="{A0B67705-000C-449B-8A07-5B854A7255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625" y="7075661"/>
                  <a:ext cx="371475" cy="266700"/>
                </a:xfrm>
                <a:custGeom>
                  <a:avLst/>
                  <a:gdLst>
                    <a:gd name="T0" fmla="*/ 226 w 234"/>
                    <a:gd name="T1" fmla="*/ 0 h 168"/>
                    <a:gd name="T2" fmla="*/ 226 w 234"/>
                    <a:gd name="T3" fmla="*/ 0 h 168"/>
                    <a:gd name="T4" fmla="*/ 226 w 234"/>
                    <a:gd name="T5" fmla="*/ 0 h 168"/>
                    <a:gd name="T6" fmla="*/ 226 w 234"/>
                    <a:gd name="T7" fmla="*/ 0 h 168"/>
                    <a:gd name="T8" fmla="*/ 208 w 234"/>
                    <a:gd name="T9" fmla="*/ 2 h 168"/>
                    <a:gd name="T10" fmla="*/ 190 w 234"/>
                    <a:gd name="T11" fmla="*/ 6 h 168"/>
                    <a:gd name="T12" fmla="*/ 172 w 234"/>
                    <a:gd name="T13" fmla="*/ 14 h 168"/>
                    <a:gd name="T14" fmla="*/ 154 w 234"/>
                    <a:gd name="T15" fmla="*/ 22 h 168"/>
                    <a:gd name="T16" fmla="*/ 136 w 234"/>
                    <a:gd name="T17" fmla="*/ 32 h 168"/>
                    <a:gd name="T18" fmla="*/ 118 w 234"/>
                    <a:gd name="T19" fmla="*/ 44 h 168"/>
                    <a:gd name="T20" fmla="*/ 82 w 234"/>
                    <a:gd name="T21" fmla="*/ 70 h 168"/>
                    <a:gd name="T22" fmla="*/ 82 w 234"/>
                    <a:gd name="T23" fmla="*/ 70 h 168"/>
                    <a:gd name="T24" fmla="*/ 58 w 234"/>
                    <a:gd name="T25" fmla="*/ 92 h 168"/>
                    <a:gd name="T26" fmla="*/ 36 w 234"/>
                    <a:gd name="T27" fmla="*/ 116 h 168"/>
                    <a:gd name="T28" fmla="*/ 16 w 234"/>
                    <a:gd name="T29" fmla="*/ 142 h 168"/>
                    <a:gd name="T30" fmla="*/ 0 w 234"/>
                    <a:gd name="T31" fmla="*/ 168 h 168"/>
                    <a:gd name="T32" fmla="*/ 20 w 234"/>
                    <a:gd name="T33" fmla="*/ 164 h 168"/>
                    <a:gd name="T34" fmla="*/ 20 w 234"/>
                    <a:gd name="T35" fmla="*/ 164 h 168"/>
                    <a:gd name="T36" fmla="*/ 34 w 234"/>
                    <a:gd name="T37" fmla="*/ 144 h 168"/>
                    <a:gd name="T38" fmla="*/ 52 w 234"/>
                    <a:gd name="T39" fmla="*/ 122 h 168"/>
                    <a:gd name="T40" fmla="*/ 72 w 234"/>
                    <a:gd name="T41" fmla="*/ 102 h 168"/>
                    <a:gd name="T42" fmla="*/ 92 w 234"/>
                    <a:gd name="T43" fmla="*/ 82 h 168"/>
                    <a:gd name="T44" fmla="*/ 92 w 234"/>
                    <a:gd name="T45" fmla="*/ 82 h 168"/>
                    <a:gd name="T46" fmla="*/ 126 w 234"/>
                    <a:gd name="T47" fmla="*/ 56 h 168"/>
                    <a:gd name="T48" fmla="*/ 144 w 234"/>
                    <a:gd name="T49" fmla="*/ 46 h 168"/>
                    <a:gd name="T50" fmla="*/ 160 w 234"/>
                    <a:gd name="T51" fmla="*/ 36 h 168"/>
                    <a:gd name="T52" fmla="*/ 178 w 234"/>
                    <a:gd name="T53" fmla="*/ 28 h 168"/>
                    <a:gd name="T54" fmla="*/ 196 w 234"/>
                    <a:gd name="T55" fmla="*/ 22 h 168"/>
                    <a:gd name="T56" fmla="*/ 212 w 234"/>
                    <a:gd name="T57" fmla="*/ 18 h 168"/>
                    <a:gd name="T58" fmla="*/ 228 w 234"/>
                    <a:gd name="T59" fmla="*/ 16 h 168"/>
                    <a:gd name="T60" fmla="*/ 228 w 234"/>
                    <a:gd name="T61" fmla="*/ 16 h 168"/>
                    <a:gd name="T62" fmla="*/ 230 w 234"/>
                    <a:gd name="T63" fmla="*/ 14 h 168"/>
                    <a:gd name="T64" fmla="*/ 234 w 234"/>
                    <a:gd name="T65" fmla="*/ 12 h 168"/>
                    <a:gd name="T66" fmla="*/ 234 w 234"/>
                    <a:gd name="T67" fmla="*/ 10 h 168"/>
                    <a:gd name="T68" fmla="*/ 234 w 234"/>
                    <a:gd name="T69" fmla="*/ 6 h 168"/>
                    <a:gd name="T70" fmla="*/ 234 w 234"/>
                    <a:gd name="T71" fmla="*/ 6 h 168"/>
                    <a:gd name="T72" fmla="*/ 232 w 234"/>
                    <a:gd name="T73" fmla="*/ 2 h 168"/>
                    <a:gd name="T74" fmla="*/ 226 w 234"/>
                    <a:gd name="T7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4" h="168">
                      <a:moveTo>
                        <a:pt x="226" y="0"/>
                      </a:move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26" y="0"/>
                      </a:lnTo>
                      <a:lnTo>
                        <a:pt x="208" y="2"/>
                      </a:lnTo>
                      <a:lnTo>
                        <a:pt x="190" y="6"/>
                      </a:lnTo>
                      <a:lnTo>
                        <a:pt x="172" y="14"/>
                      </a:lnTo>
                      <a:lnTo>
                        <a:pt x="154" y="22"/>
                      </a:lnTo>
                      <a:lnTo>
                        <a:pt x="136" y="32"/>
                      </a:lnTo>
                      <a:lnTo>
                        <a:pt x="118" y="44"/>
                      </a:lnTo>
                      <a:lnTo>
                        <a:pt x="82" y="70"/>
                      </a:lnTo>
                      <a:lnTo>
                        <a:pt x="82" y="70"/>
                      </a:lnTo>
                      <a:lnTo>
                        <a:pt x="58" y="92"/>
                      </a:lnTo>
                      <a:lnTo>
                        <a:pt x="36" y="116"/>
                      </a:lnTo>
                      <a:lnTo>
                        <a:pt x="16" y="142"/>
                      </a:lnTo>
                      <a:lnTo>
                        <a:pt x="0" y="168"/>
                      </a:lnTo>
                      <a:lnTo>
                        <a:pt x="20" y="164"/>
                      </a:lnTo>
                      <a:lnTo>
                        <a:pt x="20" y="164"/>
                      </a:lnTo>
                      <a:lnTo>
                        <a:pt x="34" y="144"/>
                      </a:lnTo>
                      <a:lnTo>
                        <a:pt x="52" y="122"/>
                      </a:lnTo>
                      <a:lnTo>
                        <a:pt x="72" y="102"/>
                      </a:lnTo>
                      <a:lnTo>
                        <a:pt x="92" y="82"/>
                      </a:lnTo>
                      <a:lnTo>
                        <a:pt x="92" y="82"/>
                      </a:lnTo>
                      <a:lnTo>
                        <a:pt x="126" y="56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78" y="28"/>
                      </a:lnTo>
                      <a:lnTo>
                        <a:pt x="196" y="22"/>
                      </a:lnTo>
                      <a:lnTo>
                        <a:pt x="212" y="18"/>
                      </a:lnTo>
                      <a:lnTo>
                        <a:pt x="228" y="16"/>
                      </a:lnTo>
                      <a:lnTo>
                        <a:pt x="228" y="16"/>
                      </a:lnTo>
                      <a:lnTo>
                        <a:pt x="230" y="14"/>
                      </a:lnTo>
                      <a:lnTo>
                        <a:pt x="234" y="12"/>
                      </a:lnTo>
                      <a:lnTo>
                        <a:pt x="234" y="10"/>
                      </a:lnTo>
                      <a:lnTo>
                        <a:pt x="234" y="6"/>
                      </a:lnTo>
                      <a:lnTo>
                        <a:pt x="234" y="6"/>
                      </a:lnTo>
                      <a:lnTo>
                        <a:pt x="232" y="2"/>
                      </a:lnTo>
                      <a:lnTo>
                        <a:pt x="22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2" name="Freeform 2484">
                  <a:extLst>
                    <a:ext uri="{FF2B5EF4-FFF2-40B4-BE49-F238E27FC236}">
                      <a16:creationId xmlns:a16="http://schemas.microsoft.com/office/drawing/2014/main" id="{39BEEE45-FD34-4B3B-8A43-109C860D69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400" y="7336011"/>
                  <a:ext cx="53975" cy="73025"/>
                </a:xfrm>
                <a:custGeom>
                  <a:avLst/>
                  <a:gdLst>
                    <a:gd name="T0" fmla="*/ 34 w 34"/>
                    <a:gd name="T1" fmla="*/ 0 h 46"/>
                    <a:gd name="T2" fmla="*/ 14 w 34"/>
                    <a:gd name="T3" fmla="*/ 4 h 46"/>
                    <a:gd name="T4" fmla="*/ 14 w 34"/>
                    <a:gd name="T5" fmla="*/ 4 h 46"/>
                    <a:gd name="T6" fmla="*/ 6 w 34"/>
                    <a:gd name="T7" fmla="*/ 20 h 46"/>
                    <a:gd name="T8" fmla="*/ 0 w 34"/>
                    <a:gd name="T9" fmla="*/ 36 h 46"/>
                    <a:gd name="T10" fmla="*/ 0 w 34"/>
                    <a:gd name="T11" fmla="*/ 36 h 46"/>
                    <a:gd name="T12" fmla="*/ 0 w 34"/>
                    <a:gd name="T13" fmla="*/ 38 h 46"/>
                    <a:gd name="T14" fmla="*/ 0 w 34"/>
                    <a:gd name="T15" fmla="*/ 42 h 46"/>
                    <a:gd name="T16" fmla="*/ 2 w 34"/>
                    <a:gd name="T17" fmla="*/ 44 h 46"/>
                    <a:gd name="T18" fmla="*/ 6 w 34"/>
                    <a:gd name="T19" fmla="*/ 46 h 46"/>
                    <a:gd name="T20" fmla="*/ 6 w 34"/>
                    <a:gd name="T21" fmla="*/ 46 h 46"/>
                    <a:gd name="T22" fmla="*/ 8 w 34"/>
                    <a:gd name="T23" fmla="*/ 46 h 46"/>
                    <a:gd name="T24" fmla="*/ 8 w 34"/>
                    <a:gd name="T25" fmla="*/ 46 h 46"/>
                    <a:gd name="T26" fmla="*/ 12 w 34"/>
                    <a:gd name="T27" fmla="*/ 44 h 46"/>
                    <a:gd name="T28" fmla="*/ 16 w 34"/>
                    <a:gd name="T29" fmla="*/ 40 h 46"/>
                    <a:gd name="T30" fmla="*/ 16 w 34"/>
                    <a:gd name="T31" fmla="*/ 40 h 46"/>
                    <a:gd name="T32" fmla="*/ 24 w 34"/>
                    <a:gd name="T33" fmla="*/ 20 h 46"/>
                    <a:gd name="T34" fmla="*/ 34 w 34"/>
                    <a:gd name="T35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4" h="46">
                      <a:moveTo>
                        <a:pt x="34" y="0"/>
                      </a:move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6" y="2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2" y="44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2" y="44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24" y="2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3" name="Freeform 2485">
                  <a:extLst>
                    <a:ext uri="{FF2B5EF4-FFF2-40B4-BE49-F238E27FC236}">
                      <a16:creationId xmlns:a16="http://schemas.microsoft.com/office/drawing/2014/main" id="{42657EB6-44A9-4FB7-959C-2962253C06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400" y="7336011"/>
                  <a:ext cx="53975" cy="73025"/>
                </a:xfrm>
                <a:custGeom>
                  <a:avLst/>
                  <a:gdLst>
                    <a:gd name="T0" fmla="*/ 34 w 34"/>
                    <a:gd name="T1" fmla="*/ 0 h 46"/>
                    <a:gd name="T2" fmla="*/ 14 w 34"/>
                    <a:gd name="T3" fmla="*/ 4 h 46"/>
                    <a:gd name="T4" fmla="*/ 14 w 34"/>
                    <a:gd name="T5" fmla="*/ 4 h 46"/>
                    <a:gd name="T6" fmla="*/ 6 w 34"/>
                    <a:gd name="T7" fmla="*/ 20 h 46"/>
                    <a:gd name="T8" fmla="*/ 0 w 34"/>
                    <a:gd name="T9" fmla="*/ 36 h 46"/>
                    <a:gd name="T10" fmla="*/ 0 w 34"/>
                    <a:gd name="T11" fmla="*/ 36 h 46"/>
                    <a:gd name="T12" fmla="*/ 0 w 34"/>
                    <a:gd name="T13" fmla="*/ 38 h 46"/>
                    <a:gd name="T14" fmla="*/ 0 w 34"/>
                    <a:gd name="T15" fmla="*/ 42 h 46"/>
                    <a:gd name="T16" fmla="*/ 2 w 34"/>
                    <a:gd name="T17" fmla="*/ 44 h 46"/>
                    <a:gd name="T18" fmla="*/ 6 w 34"/>
                    <a:gd name="T19" fmla="*/ 46 h 46"/>
                    <a:gd name="T20" fmla="*/ 6 w 34"/>
                    <a:gd name="T21" fmla="*/ 46 h 46"/>
                    <a:gd name="T22" fmla="*/ 8 w 34"/>
                    <a:gd name="T23" fmla="*/ 46 h 46"/>
                    <a:gd name="T24" fmla="*/ 8 w 34"/>
                    <a:gd name="T25" fmla="*/ 46 h 46"/>
                    <a:gd name="T26" fmla="*/ 12 w 34"/>
                    <a:gd name="T27" fmla="*/ 44 h 46"/>
                    <a:gd name="T28" fmla="*/ 16 w 34"/>
                    <a:gd name="T29" fmla="*/ 40 h 46"/>
                    <a:gd name="T30" fmla="*/ 16 w 34"/>
                    <a:gd name="T31" fmla="*/ 40 h 46"/>
                    <a:gd name="T32" fmla="*/ 24 w 34"/>
                    <a:gd name="T33" fmla="*/ 20 h 46"/>
                    <a:gd name="T34" fmla="*/ 34 w 34"/>
                    <a:gd name="T35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4" h="46">
                      <a:moveTo>
                        <a:pt x="34" y="0"/>
                      </a:move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6" y="2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2" y="44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2" y="44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24" y="20"/>
                      </a:lnTo>
                      <a:lnTo>
                        <a:pt x="3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4" name="Freeform 2486">
                  <a:extLst>
                    <a:ext uri="{FF2B5EF4-FFF2-40B4-BE49-F238E27FC236}">
                      <a16:creationId xmlns:a16="http://schemas.microsoft.com/office/drawing/2014/main" id="{3C9F8A57-CAE0-4A7E-A475-98501F1351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700" y="7304261"/>
                  <a:ext cx="38100" cy="22225"/>
                </a:xfrm>
                <a:custGeom>
                  <a:avLst/>
                  <a:gdLst>
                    <a:gd name="T0" fmla="*/ 16 w 24"/>
                    <a:gd name="T1" fmla="*/ 0 h 14"/>
                    <a:gd name="T2" fmla="*/ 16 w 24"/>
                    <a:gd name="T3" fmla="*/ 0 h 14"/>
                    <a:gd name="T4" fmla="*/ 12 w 24"/>
                    <a:gd name="T5" fmla="*/ 2 h 14"/>
                    <a:gd name="T6" fmla="*/ 12 w 24"/>
                    <a:gd name="T7" fmla="*/ 2 h 14"/>
                    <a:gd name="T8" fmla="*/ 0 w 24"/>
                    <a:gd name="T9" fmla="*/ 14 h 14"/>
                    <a:gd name="T10" fmla="*/ 24 w 24"/>
                    <a:gd name="T11" fmla="*/ 12 h 14"/>
                    <a:gd name="T12" fmla="*/ 24 w 24"/>
                    <a:gd name="T13" fmla="*/ 12 h 14"/>
                    <a:gd name="T14" fmla="*/ 24 w 24"/>
                    <a:gd name="T15" fmla="*/ 6 h 14"/>
                    <a:gd name="T16" fmla="*/ 22 w 24"/>
                    <a:gd name="T17" fmla="*/ 2 h 14"/>
                    <a:gd name="T18" fmla="*/ 22 w 24"/>
                    <a:gd name="T19" fmla="*/ 2 h 14"/>
                    <a:gd name="T20" fmla="*/ 20 w 24"/>
                    <a:gd name="T21" fmla="*/ 0 h 14"/>
                    <a:gd name="T22" fmla="*/ 16 w 24"/>
                    <a:gd name="T2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14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0" y="14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5" name="Freeform 2487">
                  <a:extLst>
                    <a:ext uri="{FF2B5EF4-FFF2-40B4-BE49-F238E27FC236}">
                      <a16:creationId xmlns:a16="http://schemas.microsoft.com/office/drawing/2014/main" id="{E62F6F26-D0AF-4595-B57D-0ADDAC9B58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700" y="7304261"/>
                  <a:ext cx="38100" cy="22225"/>
                </a:xfrm>
                <a:custGeom>
                  <a:avLst/>
                  <a:gdLst>
                    <a:gd name="T0" fmla="*/ 16 w 24"/>
                    <a:gd name="T1" fmla="*/ 0 h 14"/>
                    <a:gd name="T2" fmla="*/ 16 w 24"/>
                    <a:gd name="T3" fmla="*/ 0 h 14"/>
                    <a:gd name="T4" fmla="*/ 12 w 24"/>
                    <a:gd name="T5" fmla="*/ 2 h 14"/>
                    <a:gd name="T6" fmla="*/ 12 w 24"/>
                    <a:gd name="T7" fmla="*/ 2 h 14"/>
                    <a:gd name="T8" fmla="*/ 0 w 24"/>
                    <a:gd name="T9" fmla="*/ 14 h 14"/>
                    <a:gd name="T10" fmla="*/ 24 w 24"/>
                    <a:gd name="T11" fmla="*/ 12 h 14"/>
                    <a:gd name="T12" fmla="*/ 24 w 24"/>
                    <a:gd name="T13" fmla="*/ 12 h 14"/>
                    <a:gd name="T14" fmla="*/ 24 w 24"/>
                    <a:gd name="T15" fmla="*/ 6 h 14"/>
                    <a:gd name="T16" fmla="*/ 22 w 24"/>
                    <a:gd name="T17" fmla="*/ 2 h 14"/>
                    <a:gd name="T18" fmla="*/ 22 w 24"/>
                    <a:gd name="T19" fmla="*/ 2 h 14"/>
                    <a:gd name="T20" fmla="*/ 20 w 24"/>
                    <a:gd name="T21" fmla="*/ 0 h 14"/>
                    <a:gd name="T22" fmla="*/ 16 w 24"/>
                    <a:gd name="T2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14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0" y="14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0" y="0"/>
                      </a:lnTo>
                      <a:lnTo>
                        <a:pt x="1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6" name="Freeform 2488">
                  <a:extLst>
                    <a:ext uri="{FF2B5EF4-FFF2-40B4-BE49-F238E27FC236}">
                      <a16:creationId xmlns:a16="http://schemas.microsoft.com/office/drawing/2014/main" id="{4E620F71-A801-47BF-B446-97B3DD59D0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100" y="7323311"/>
                  <a:ext cx="139700" cy="266700"/>
                </a:xfrm>
                <a:custGeom>
                  <a:avLst/>
                  <a:gdLst>
                    <a:gd name="T0" fmla="*/ 88 w 88"/>
                    <a:gd name="T1" fmla="*/ 0 h 168"/>
                    <a:gd name="T2" fmla="*/ 64 w 88"/>
                    <a:gd name="T3" fmla="*/ 2 h 168"/>
                    <a:gd name="T4" fmla="*/ 64 w 88"/>
                    <a:gd name="T5" fmla="*/ 2 h 168"/>
                    <a:gd name="T6" fmla="*/ 52 w 88"/>
                    <a:gd name="T7" fmla="*/ 18 h 168"/>
                    <a:gd name="T8" fmla="*/ 42 w 88"/>
                    <a:gd name="T9" fmla="*/ 36 h 168"/>
                    <a:gd name="T10" fmla="*/ 34 w 88"/>
                    <a:gd name="T11" fmla="*/ 54 h 168"/>
                    <a:gd name="T12" fmla="*/ 26 w 88"/>
                    <a:gd name="T13" fmla="*/ 72 h 168"/>
                    <a:gd name="T14" fmla="*/ 26 w 88"/>
                    <a:gd name="T15" fmla="*/ 72 h 168"/>
                    <a:gd name="T16" fmla="*/ 10 w 88"/>
                    <a:gd name="T17" fmla="*/ 120 h 168"/>
                    <a:gd name="T18" fmla="*/ 0 w 88"/>
                    <a:gd name="T19" fmla="*/ 158 h 168"/>
                    <a:gd name="T20" fmla="*/ 0 w 88"/>
                    <a:gd name="T21" fmla="*/ 158 h 168"/>
                    <a:gd name="T22" fmla="*/ 0 w 88"/>
                    <a:gd name="T23" fmla="*/ 162 h 168"/>
                    <a:gd name="T24" fmla="*/ 0 w 88"/>
                    <a:gd name="T25" fmla="*/ 164 h 168"/>
                    <a:gd name="T26" fmla="*/ 2 w 88"/>
                    <a:gd name="T27" fmla="*/ 168 h 168"/>
                    <a:gd name="T28" fmla="*/ 6 w 88"/>
                    <a:gd name="T29" fmla="*/ 168 h 168"/>
                    <a:gd name="T30" fmla="*/ 6 w 88"/>
                    <a:gd name="T31" fmla="*/ 168 h 168"/>
                    <a:gd name="T32" fmla="*/ 8 w 88"/>
                    <a:gd name="T33" fmla="*/ 168 h 168"/>
                    <a:gd name="T34" fmla="*/ 8 w 88"/>
                    <a:gd name="T35" fmla="*/ 168 h 168"/>
                    <a:gd name="T36" fmla="*/ 12 w 88"/>
                    <a:gd name="T37" fmla="*/ 166 h 168"/>
                    <a:gd name="T38" fmla="*/ 14 w 88"/>
                    <a:gd name="T39" fmla="*/ 162 h 168"/>
                    <a:gd name="T40" fmla="*/ 14 w 88"/>
                    <a:gd name="T41" fmla="*/ 162 h 168"/>
                    <a:gd name="T42" fmla="*/ 24 w 88"/>
                    <a:gd name="T43" fmla="*/ 124 h 168"/>
                    <a:gd name="T44" fmla="*/ 40 w 88"/>
                    <a:gd name="T45" fmla="*/ 78 h 168"/>
                    <a:gd name="T46" fmla="*/ 40 w 88"/>
                    <a:gd name="T47" fmla="*/ 78 h 168"/>
                    <a:gd name="T48" fmla="*/ 50 w 88"/>
                    <a:gd name="T49" fmla="*/ 56 h 168"/>
                    <a:gd name="T50" fmla="*/ 60 w 88"/>
                    <a:gd name="T51" fmla="*/ 34 h 168"/>
                    <a:gd name="T52" fmla="*/ 72 w 88"/>
                    <a:gd name="T53" fmla="*/ 16 h 168"/>
                    <a:gd name="T54" fmla="*/ 86 w 88"/>
                    <a:gd name="T55" fmla="*/ 2 h 168"/>
                    <a:gd name="T56" fmla="*/ 86 w 88"/>
                    <a:gd name="T57" fmla="*/ 2 h 168"/>
                    <a:gd name="T58" fmla="*/ 88 w 88"/>
                    <a:gd name="T59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8" h="168">
                      <a:moveTo>
                        <a:pt x="88" y="0"/>
                      </a:moveTo>
                      <a:lnTo>
                        <a:pt x="64" y="2"/>
                      </a:lnTo>
                      <a:lnTo>
                        <a:pt x="64" y="2"/>
                      </a:lnTo>
                      <a:lnTo>
                        <a:pt x="52" y="18"/>
                      </a:lnTo>
                      <a:lnTo>
                        <a:pt x="42" y="36"/>
                      </a:lnTo>
                      <a:lnTo>
                        <a:pt x="34" y="54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10" y="120"/>
                      </a:lnTo>
                      <a:lnTo>
                        <a:pt x="0" y="158"/>
                      </a:lnTo>
                      <a:lnTo>
                        <a:pt x="0" y="158"/>
                      </a:lnTo>
                      <a:lnTo>
                        <a:pt x="0" y="162"/>
                      </a:lnTo>
                      <a:lnTo>
                        <a:pt x="0" y="164"/>
                      </a:lnTo>
                      <a:lnTo>
                        <a:pt x="2" y="168"/>
                      </a:lnTo>
                      <a:lnTo>
                        <a:pt x="6" y="168"/>
                      </a:lnTo>
                      <a:lnTo>
                        <a:pt x="6" y="168"/>
                      </a:lnTo>
                      <a:lnTo>
                        <a:pt x="8" y="168"/>
                      </a:lnTo>
                      <a:lnTo>
                        <a:pt x="8" y="168"/>
                      </a:lnTo>
                      <a:lnTo>
                        <a:pt x="12" y="166"/>
                      </a:lnTo>
                      <a:lnTo>
                        <a:pt x="14" y="162"/>
                      </a:lnTo>
                      <a:lnTo>
                        <a:pt x="14" y="162"/>
                      </a:lnTo>
                      <a:lnTo>
                        <a:pt x="24" y="124"/>
                      </a:lnTo>
                      <a:lnTo>
                        <a:pt x="40" y="78"/>
                      </a:lnTo>
                      <a:lnTo>
                        <a:pt x="40" y="78"/>
                      </a:lnTo>
                      <a:lnTo>
                        <a:pt x="50" y="56"/>
                      </a:lnTo>
                      <a:lnTo>
                        <a:pt x="60" y="34"/>
                      </a:lnTo>
                      <a:lnTo>
                        <a:pt x="72" y="16"/>
                      </a:lnTo>
                      <a:lnTo>
                        <a:pt x="86" y="2"/>
                      </a:lnTo>
                      <a:lnTo>
                        <a:pt x="86" y="2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solidFill>
                  <a:srgbClr val="FFF6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7" name="Freeform 2489">
                  <a:extLst>
                    <a:ext uri="{FF2B5EF4-FFF2-40B4-BE49-F238E27FC236}">
                      <a16:creationId xmlns:a16="http://schemas.microsoft.com/office/drawing/2014/main" id="{6B7A9970-93DA-4EE1-87AF-C9B14D01CF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100" y="7323311"/>
                  <a:ext cx="139700" cy="266700"/>
                </a:xfrm>
                <a:custGeom>
                  <a:avLst/>
                  <a:gdLst>
                    <a:gd name="T0" fmla="*/ 88 w 88"/>
                    <a:gd name="T1" fmla="*/ 0 h 168"/>
                    <a:gd name="T2" fmla="*/ 64 w 88"/>
                    <a:gd name="T3" fmla="*/ 2 h 168"/>
                    <a:gd name="T4" fmla="*/ 64 w 88"/>
                    <a:gd name="T5" fmla="*/ 2 h 168"/>
                    <a:gd name="T6" fmla="*/ 52 w 88"/>
                    <a:gd name="T7" fmla="*/ 18 h 168"/>
                    <a:gd name="T8" fmla="*/ 42 w 88"/>
                    <a:gd name="T9" fmla="*/ 36 h 168"/>
                    <a:gd name="T10" fmla="*/ 34 w 88"/>
                    <a:gd name="T11" fmla="*/ 54 h 168"/>
                    <a:gd name="T12" fmla="*/ 26 w 88"/>
                    <a:gd name="T13" fmla="*/ 72 h 168"/>
                    <a:gd name="T14" fmla="*/ 26 w 88"/>
                    <a:gd name="T15" fmla="*/ 72 h 168"/>
                    <a:gd name="T16" fmla="*/ 10 w 88"/>
                    <a:gd name="T17" fmla="*/ 120 h 168"/>
                    <a:gd name="T18" fmla="*/ 0 w 88"/>
                    <a:gd name="T19" fmla="*/ 158 h 168"/>
                    <a:gd name="T20" fmla="*/ 0 w 88"/>
                    <a:gd name="T21" fmla="*/ 158 h 168"/>
                    <a:gd name="T22" fmla="*/ 0 w 88"/>
                    <a:gd name="T23" fmla="*/ 162 h 168"/>
                    <a:gd name="T24" fmla="*/ 0 w 88"/>
                    <a:gd name="T25" fmla="*/ 164 h 168"/>
                    <a:gd name="T26" fmla="*/ 2 w 88"/>
                    <a:gd name="T27" fmla="*/ 168 h 168"/>
                    <a:gd name="T28" fmla="*/ 6 w 88"/>
                    <a:gd name="T29" fmla="*/ 168 h 168"/>
                    <a:gd name="T30" fmla="*/ 6 w 88"/>
                    <a:gd name="T31" fmla="*/ 168 h 168"/>
                    <a:gd name="T32" fmla="*/ 8 w 88"/>
                    <a:gd name="T33" fmla="*/ 168 h 168"/>
                    <a:gd name="T34" fmla="*/ 8 w 88"/>
                    <a:gd name="T35" fmla="*/ 168 h 168"/>
                    <a:gd name="T36" fmla="*/ 12 w 88"/>
                    <a:gd name="T37" fmla="*/ 166 h 168"/>
                    <a:gd name="T38" fmla="*/ 14 w 88"/>
                    <a:gd name="T39" fmla="*/ 162 h 168"/>
                    <a:gd name="T40" fmla="*/ 14 w 88"/>
                    <a:gd name="T41" fmla="*/ 162 h 168"/>
                    <a:gd name="T42" fmla="*/ 24 w 88"/>
                    <a:gd name="T43" fmla="*/ 124 h 168"/>
                    <a:gd name="T44" fmla="*/ 40 w 88"/>
                    <a:gd name="T45" fmla="*/ 78 h 168"/>
                    <a:gd name="T46" fmla="*/ 40 w 88"/>
                    <a:gd name="T47" fmla="*/ 78 h 168"/>
                    <a:gd name="T48" fmla="*/ 50 w 88"/>
                    <a:gd name="T49" fmla="*/ 56 h 168"/>
                    <a:gd name="T50" fmla="*/ 60 w 88"/>
                    <a:gd name="T51" fmla="*/ 34 h 168"/>
                    <a:gd name="T52" fmla="*/ 72 w 88"/>
                    <a:gd name="T53" fmla="*/ 16 h 168"/>
                    <a:gd name="T54" fmla="*/ 86 w 88"/>
                    <a:gd name="T55" fmla="*/ 2 h 168"/>
                    <a:gd name="T56" fmla="*/ 86 w 88"/>
                    <a:gd name="T57" fmla="*/ 2 h 168"/>
                    <a:gd name="T58" fmla="*/ 88 w 88"/>
                    <a:gd name="T59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8" h="168">
                      <a:moveTo>
                        <a:pt x="88" y="0"/>
                      </a:moveTo>
                      <a:lnTo>
                        <a:pt x="64" y="2"/>
                      </a:lnTo>
                      <a:lnTo>
                        <a:pt x="64" y="2"/>
                      </a:lnTo>
                      <a:lnTo>
                        <a:pt x="52" y="18"/>
                      </a:lnTo>
                      <a:lnTo>
                        <a:pt x="42" y="36"/>
                      </a:lnTo>
                      <a:lnTo>
                        <a:pt x="34" y="54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10" y="120"/>
                      </a:lnTo>
                      <a:lnTo>
                        <a:pt x="0" y="158"/>
                      </a:lnTo>
                      <a:lnTo>
                        <a:pt x="0" y="158"/>
                      </a:lnTo>
                      <a:lnTo>
                        <a:pt x="0" y="162"/>
                      </a:lnTo>
                      <a:lnTo>
                        <a:pt x="0" y="164"/>
                      </a:lnTo>
                      <a:lnTo>
                        <a:pt x="2" y="168"/>
                      </a:lnTo>
                      <a:lnTo>
                        <a:pt x="6" y="168"/>
                      </a:lnTo>
                      <a:lnTo>
                        <a:pt x="6" y="168"/>
                      </a:lnTo>
                      <a:lnTo>
                        <a:pt x="8" y="168"/>
                      </a:lnTo>
                      <a:lnTo>
                        <a:pt x="8" y="168"/>
                      </a:lnTo>
                      <a:lnTo>
                        <a:pt x="12" y="166"/>
                      </a:lnTo>
                      <a:lnTo>
                        <a:pt x="14" y="162"/>
                      </a:lnTo>
                      <a:lnTo>
                        <a:pt x="14" y="162"/>
                      </a:lnTo>
                      <a:lnTo>
                        <a:pt x="24" y="124"/>
                      </a:lnTo>
                      <a:lnTo>
                        <a:pt x="40" y="78"/>
                      </a:lnTo>
                      <a:lnTo>
                        <a:pt x="40" y="78"/>
                      </a:lnTo>
                      <a:lnTo>
                        <a:pt x="50" y="56"/>
                      </a:lnTo>
                      <a:lnTo>
                        <a:pt x="60" y="34"/>
                      </a:lnTo>
                      <a:lnTo>
                        <a:pt x="72" y="16"/>
                      </a:lnTo>
                      <a:lnTo>
                        <a:pt x="86" y="2"/>
                      </a:lnTo>
                      <a:lnTo>
                        <a:pt x="86" y="2"/>
                      </a:lnTo>
                      <a:lnTo>
                        <a:pt x="8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00857"/>
                  <a:endParaRPr lang="en-AU" sz="1351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10" name="Freeform 2029">
                <a:extLst>
                  <a:ext uri="{FF2B5EF4-FFF2-40B4-BE49-F238E27FC236}">
                    <a16:creationId xmlns:a16="http://schemas.microsoft.com/office/drawing/2014/main" id="{12B13A39-BF4E-4AC7-8E5E-84C621D07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4051" y="7966617"/>
                <a:ext cx="707961" cy="265974"/>
              </a:xfrm>
              <a:custGeom>
                <a:avLst/>
                <a:gdLst/>
                <a:ahLst/>
                <a:cxnLst/>
                <a:rect l="l" t="t" r="r" b="b"/>
                <a:pathLst>
                  <a:path w="1149350" h="431800">
                    <a:moveTo>
                      <a:pt x="432993" y="10160"/>
                    </a:moveTo>
                    <a:lnTo>
                      <a:pt x="574675" y="339726"/>
                    </a:lnTo>
                    <a:lnTo>
                      <a:pt x="714382" y="14756"/>
                    </a:lnTo>
                    <a:lnTo>
                      <a:pt x="746125" y="22225"/>
                    </a:lnTo>
                    <a:lnTo>
                      <a:pt x="800100" y="41275"/>
                    </a:lnTo>
                    <a:lnTo>
                      <a:pt x="850900" y="60325"/>
                    </a:lnTo>
                    <a:lnTo>
                      <a:pt x="895350" y="85725"/>
                    </a:lnTo>
                    <a:lnTo>
                      <a:pt x="939800" y="114300"/>
                    </a:lnTo>
                    <a:lnTo>
                      <a:pt x="981075" y="142875"/>
                    </a:lnTo>
                    <a:lnTo>
                      <a:pt x="1019175" y="177800"/>
                    </a:lnTo>
                    <a:lnTo>
                      <a:pt x="1050925" y="212725"/>
                    </a:lnTo>
                    <a:lnTo>
                      <a:pt x="1082675" y="247650"/>
                    </a:lnTo>
                    <a:lnTo>
                      <a:pt x="1104900" y="285750"/>
                    </a:lnTo>
                    <a:lnTo>
                      <a:pt x="1123950" y="320675"/>
                    </a:lnTo>
                    <a:lnTo>
                      <a:pt x="1139825" y="358775"/>
                    </a:lnTo>
                    <a:lnTo>
                      <a:pt x="1149350" y="396875"/>
                    </a:lnTo>
                    <a:lnTo>
                      <a:pt x="1149350" y="431800"/>
                    </a:lnTo>
                    <a:lnTo>
                      <a:pt x="0" y="431800"/>
                    </a:lnTo>
                    <a:lnTo>
                      <a:pt x="3175" y="396875"/>
                    </a:lnTo>
                    <a:lnTo>
                      <a:pt x="9525" y="358775"/>
                    </a:lnTo>
                    <a:lnTo>
                      <a:pt x="25400" y="320675"/>
                    </a:lnTo>
                    <a:lnTo>
                      <a:pt x="44450" y="285750"/>
                    </a:lnTo>
                    <a:lnTo>
                      <a:pt x="69850" y="247650"/>
                    </a:lnTo>
                    <a:lnTo>
                      <a:pt x="98425" y="212725"/>
                    </a:lnTo>
                    <a:lnTo>
                      <a:pt x="130175" y="177800"/>
                    </a:lnTo>
                    <a:lnTo>
                      <a:pt x="168275" y="142875"/>
                    </a:lnTo>
                    <a:lnTo>
                      <a:pt x="209550" y="114300"/>
                    </a:lnTo>
                    <a:lnTo>
                      <a:pt x="254000" y="85725"/>
                    </a:lnTo>
                    <a:lnTo>
                      <a:pt x="301625" y="60325"/>
                    </a:lnTo>
                    <a:lnTo>
                      <a:pt x="349250" y="41275"/>
                    </a:lnTo>
                    <a:lnTo>
                      <a:pt x="403225" y="22225"/>
                    </a:lnTo>
                    <a:lnTo>
                      <a:pt x="435131" y="15135"/>
                    </a:lnTo>
                    <a:close/>
                    <a:moveTo>
                      <a:pt x="720725" y="1"/>
                    </a:moveTo>
                    <a:lnTo>
                      <a:pt x="720725" y="1"/>
                    </a:lnTo>
                    <a:lnTo>
                      <a:pt x="714382" y="14756"/>
                    </a:lnTo>
                    <a:lnTo>
                      <a:pt x="714381" y="14756"/>
                    </a:lnTo>
                    <a:close/>
                    <a:moveTo>
                      <a:pt x="428625" y="1"/>
                    </a:moveTo>
                    <a:lnTo>
                      <a:pt x="428625" y="1"/>
                    </a:lnTo>
                    <a:lnTo>
                      <a:pt x="432993" y="10160"/>
                    </a:lnTo>
                    <a:close/>
                    <a:moveTo>
                      <a:pt x="428625" y="0"/>
                    </a:moveTo>
                    <a:lnTo>
                      <a:pt x="574675" y="0"/>
                    </a:lnTo>
                    <a:lnTo>
                      <a:pt x="720725" y="0"/>
                    </a:lnTo>
                    <a:lnTo>
                      <a:pt x="720725" y="1"/>
                    </a:lnTo>
                    <a:lnTo>
                      <a:pt x="428625" y="1"/>
                    </a:lnTo>
                    <a:close/>
                  </a:path>
                </a:pathLst>
              </a:custGeom>
              <a:solidFill>
                <a:srgbClr val="7AD5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400857"/>
                <a:endParaRPr lang="en-AU" sz="135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06" name="Rectangle 605">
              <a:extLst>
                <a:ext uri="{FF2B5EF4-FFF2-40B4-BE49-F238E27FC236}">
                  <a16:creationId xmlns:a16="http://schemas.microsoft.com/office/drawing/2014/main" id="{B09398FC-8861-4288-AD84-635A48F70415}"/>
                </a:ext>
              </a:extLst>
            </p:cNvPr>
            <p:cNvSpPr/>
            <p:nvPr/>
          </p:nvSpPr>
          <p:spPr>
            <a:xfrm>
              <a:off x="1041025" y="2644000"/>
              <a:ext cx="223052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00857"/>
              <a:endParaRPr lang="en-AU" sz="1351" dirty="0">
                <a:solidFill>
                  <a:prstClr val="white"/>
                </a:solidFill>
              </a:endParaRPr>
            </a:p>
          </p:txBody>
        </p:sp>
        <p:sp>
          <p:nvSpPr>
            <p:cNvPr id="607" name="Freeform 2030">
              <a:extLst>
                <a:ext uri="{FF2B5EF4-FFF2-40B4-BE49-F238E27FC236}">
                  <a16:creationId xmlns:a16="http://schemas.microsoft.com/office/drawing/2014/main" id="{4A8AA789-2500-42A1-B645-B9C76AC91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4757" y="2354578"/>
              <a:ext cx="129586" cy="194379"/>
            </a:xfrm>
            <a:custGeom>
              <a:avLst/>
              <a:gdLst>
                <a:gd name="T0" fmla="*/ 100 w 100"/>
                <a:gd name="T1" fmla="*/ 122 h 150"/>
                <a:gd name="T2" fmla="*/ 0 w 100"/>
                <a:gd name="T3" fmla="*/ 150 h 150"/>
                <a:gd name="T4" fmla="*/ 20 w 100"/>
                <a:gd name="T5" fmla="*/ 6 h 150"/>
                <a:gd name="T6" fmla="*/ 50 w 100"/>
                <a:gd name="T7" fmla="*/ 0 h 150"/>
                <a:gd name="T8" fmla="*/ 100 w 100"/>
                <a:gd name="T9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50">
                  <a:moveTo>
                    <a:pt x="100" y="122"/>
                  </a:moveTo>
                  <a:lnTo>
                    <a:pt x="0" y="150"/>
                  </a:lnTo>
                  <a:lnTo>
                    <a:pt x="20" y="6"/>
                  </a:lnTo>
                  <a:lnTo>
                    <a:pt x="50" y="0"/>
                  </a:lnTo>
                  <a:lnTo>
                    <a:pt x="100" y="1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644" tIns="34322" rIns="68644" bIns="34322" numCol="1" anchor="t" anchorCtr="0" compatLnSpc="1">
              <a:prstTxWarp prst="textNoShape">
                <a:avLst/>
              </a:prstTxWarp>
            </a:bodyPr>
            <a:lstStyle/>
            <a:p>
              <a:pPr defTabSz="400857"/>
              <a:endParaRPr lang="en-AU" sz="1351" dirty="0">
                <a:solidFill>
                  <a:prstClr val="black"/>
                </a:solidFill>
              </a:endParaRPr>
            </a:p>
          </p:txBody>
        </p:sp>
        <p:sp>
          <p:nvSpPr>
            <p:cNvPr id="608" name="Freeform 2031">
              <a:extLst>
                <a:ext uri="{FF2B5EF4-FFF2-40B4-BE49-F238E27FC236}">
                  <a16:creationId xmlns:a16="http://schemas.microsoft.com/office/drawing/2014/main" id="{62F0E576-51AC-423D-AFA1-DC1FB6576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702" y="2354578"/>
              <a:ext cx="129586" cy="194379"/>
            </a:xfrm>
            <a:custGeom>
              <a:avLst/>
              <a:gdLst>
                <a:gd name="T0" fmla="*/ 0 w 100"/>
                <a:gd name="T1" fmla="*/ 122 h 150"/>
                <a:gd name="T2" fmla="*/ 100 w 100"/>
                <a:gd name="T3" fmla="*/ 150 h 150"/>
                <a:gd name="T4" fmla="*/ 80 w 100"/>
                <a:gd name="T5" fmla="*/ 6 h 150"/>
                <a:gd name="T6" fmla="*/ 52 w 100"/>
                <a:gd name="T7" fmla="*/ 0 h 150"/>
                <a:gd name="T8" fmla="*/ 0 w 100"/>
                <a:gd name="T9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50">
                  <a:moveTo>
                    <a:pt x="0" y="122"/>
                  </a:moveTo>
                  <a:lnTo>
                    <a:pt x="100" y="150"/>
                  </a:lnTo>
                  <a:lnTo>
                    <a:pt x="80" y="6"/>
                  </a:lnTo>
                  <a:lnTo>
                    <a:pt x="52" y="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644" tIns="34322" rIns="68644" bIns="34322" numCol="1" anchor="t" anchorCtr="0" compatLnSpc="1">
              <a:prstTxWarp prst="textNoShape">
                <a:avLst/>
              </a:prstTxWarp>
            </a:bodyPr>
            <a:lstStyle/>
            <a:p>
              <a:pPr defTabSz="400857"/>
              <a:endParaRPr lang="en-AU" sz="135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68" name="Group 667">
            <a:extLst>
              <a:ext uri="{FF2B5EF4-FFF2-40B4-BE49-F238E27FC236}">
                <a16:creationId xmlns:a16="http://schemas.microsoft.com/office/drawing/2014/main" id="{6DC65CF8-4AC1-4F86-9C76-F92778A552A4}"/>
              </a:ext>
            </a:extLst>
          </p:cNvPr>
          <p:cNvGrpSpPr>
            <a:grpSpLocks noChangeAspect="1"/>
          </p:cNvGrpSpPr>
          <p:nvPr/>
        </p:nvGrpSpPr>
        <p:grpSpPr>
          <a:xfrm>
            <a:off x="810077" y="1252428"/>
            <a:ext cx="360000" cy="540000"/>
            <a:chOff x="-2096144" y="480120"/>
            <a:chExt cx="915825" cy="1503240"/>
          </a:xfrm>
        </p:grpSpPr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7571D237-24AB-476B-BABA-F33A728753B2}"/>
                </a:ext>
              </a:extLst>
            </p:cNvPr>
            <p:cNvGrpSpPr/>
            <p:nvPr/>
          </p:nvGrpSpPr>
          <p:grpSpPr>
            <a:xfrm>
              <a:off x="-2096144" y="480120"/>
              <a:ext cx="915825" cy="1466649"/>
              <a:chOff x="11045826" y="651694"/>
              <a:chExt cx="1314450" cy="2105026"/>
            </a:xfrm>
          </p:grpSpPr>
          <p:sp>
            <p:nvSpPr>
              <p:cNvPr id="718" name="Rectangle 717">
                <a:extLst>
                  <a:ext uri="{FF2B5EF4-FFF2-40B4-BE49-F238E27FC236}">
                    <a16:creationId xmlns:a16="http://schemas.microsoft.com/office/drawing/2014/main" id="{F80E6359-19B6-4F76-B2FC-3628F87FC4CD}"/>
                  </a:ext>
                </a:extLst>
              </p:cNvPr>
              <p:cNvSpPr/>
              <p:nvPr/>
            </p:nvSpPr>
            <p:spPr>
              <a:xfrm>
                <a:off x="11564939" y="2324920"/>
                <a:ext cx="271463" cy="431800"/>
              </a:xfrm>
              <a:prstGeom prst="rect">
                <a:avLst/>
              </a:pr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19" name="Freeform 1942">
                <a:extLst>
                  <a:ext uri="{FF2B5EF4-FFF2-40B4-BE49-F238E27FC236}">
                    <a16:creationId xmlns:a16="http://schemas.microsoft.com/office/drawing/2014/main" id="{B211D3A8-2837-48CE-8278-65D338C55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0176" y="2324919"/>
                <a:ext cx="288925" cy="184150"/>
              </a:xfrm>
              <a:custGeom>
                <a:avLst/>
                <a:gdLst>
                  <a:gd name="T0" fmla="*/ 90 w 182"/>
                  <a:gd name="T1" fmla="*/ 116 h 116"/>
                  <a:gd name="T2" fmla="*/ 0 w 182"/>
                  <a:gd name="T3" fmla="*/ 0 h 116"/>
                  <a:gd name="T4" fmla="*/ 182 w 182"/>
                  <a:gd name="T5" fmla="*/ 0 h 116"/>
                  <a:gd name="T6" fmla="*/ 90 w 182"/>
                  <a:gd name="T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" h="116">
                    <a:moveTo>
                      <a:pt x="90" y="116"/>
                    </a:moveTo>
                    <a:lnTo>
                      <a:pt x="0" y="0"/>
                    </a:lnTo>
                    <a:lnTo>
                      <a:pt x="182" y="0"/>
                    </a:lnTo>
                    <a:lnTo>
                      <a:pt x="90" y="11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0" name="Freeform 1944">
                <a:extLst>
                  <a:ext uri="{FF2B5EF4-FFF2-40B4-BE49-F238E27FC236}">
                    <a16:creationId xmlns:a16="http://schemas.microsoft.com/office/drawing/2014/main" id="{0D95490D-9A5E-4D13-A4CC-0C1249937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87151" y="2337619"/>
                <a:ext cx="158750" cy="190500"/>
              </a:xfrm>
              <a:custGeom>
                <a:avLst/>
                <a:gdLst>
                  <a:gd name="T0" fmla="*/ 100 w 100"/>
                  <a:gd name="T1" fmla="*/ 62 h 120"/>
                  <a:gd name="T2" fmla="*/ 0 w 100"/>
                  <a:gd name="T3" fmla="*/ 120 h 120"/>
                  <a:gd name="T4" fmla="*/ 20 w 100"/>
                  <a:gd name="T5" fmla="*/ 6 h 120"/>
                  <a:gd name="T6" fmla="*/ 50 w 100"/>
                  <a:gd name="T7" fmla="*/ 0 h 120"/>
                  <a:gd name="T8" fmla="*/ 10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100" y="62"/>
                    </a:moveTo>
                    <a:lnTo>
                      <a:pt x="0" y="120"/>
                    </a:lnTo>
                    <a:lnTo>
                      <a:pt x="20" y="6"/>
                    </a:lnTo>
                    <a:lnTo>
                      <a:pt x="50" y="0"/>
                    </a:lnTo>
                    <a:lnTo>
                      <a:pt x="10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1" name="Freeform 1946">
                <a:extLst>
                  <a:ext uri="{FF2B5EF4-FFF2-40B4-BE49-F238E27FC236}">
                    <a16:creationId xmlns:a16="http://schemas.microsoft.com/office/drawing/2014/main" id="{AFA81079-96DB-4B1E-AFD2-D3101C2E7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0201" y="2337619"/>
                <a:ext cx="158750" cy="190500"/>
              </a:xfrm>
              <a:custGeom>
                <a:avLst/>
                <a:gdLst>
                  <a:gd name="T0" fmla="*/ 0 w 100"/>
                  <a:gd name="T1" fmla="*/ 62 h 120"/>
                  <a:gd name="T2" fmla="*/ 100 w 100"/>
                  <a:gd name="T3" fmla="*/ 120 h 120"/>
                  <a:gd name="T4" fmla="*/ 80 w 100"/>
                  <a:gd name="T5" fmla="*/ 6 h 120"/>
                  <a:gd name="T6" fmla="*/ 52 w 100"/>
                  <a:gd name="T7" fmla="*/ 0 h 120"/>
                  <a:gd name="T8" fmla="*/ 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0" y="62"/>
                    </a:moveTo>
                    <a:lnTo>
                      <a:pt x="100" y="120"/>
                    </a:lnTo>
                    <a:lnTo>
                      <a:pt x="80" y="6"/>
                    </a:lnTo>
                    <a:lnTo>
                      <a:pt x="52" y="0"/>
                    </a:lnTo>
                    <a:lnTo>
                      <a:pt x="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2" name="Freeform 1947">
                <a:extLst>
                  <a:ext uri="{FF2B5EF4-FFF2-40B4-BE49-F238E27FC236}">
                    <a16:creationId xmlns:a16="http://schemas.microsoft.com/office/drawing/2014/main" id="{C40645E8-99CB-49A3-85F4-6F1504148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167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6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6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6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6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  <a:close/>
                  </a:path>
                </a:pathLst>
              </a:cu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3" name="Freeform 1948">
                <a:extLst>
                  <a:ext uri="{FF2B5EF4-FFF2-40B4-BE49-F238E27FC236}">
                    <a16:creationId xmlns:a16="http://schemas.microsoft.com/office/drawing/2014/main" id="{FC142D50-4E81-468D-8E54-7B287AC15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167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6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6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6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6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4" name="Freeform 1949">
                <a:extLst>
                  <a:ext uri="{FF2B5EF4-FFF2-40B4-BE49-F238E27FC236}">
                    <a16:creationId xmlns:a16="http://schemas.microsoft.com/office/drawing/2014/main" id="{F6886DBC-E806-4836-BD6B-F0EF898B86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49151" y="1785169"/>
                <a:ext cx="63500" cy="44450"/>
              </a:xfrm>
              <a:custGeom>
                <a:avLst/>
                <a:gdLst>
                  <a:gd name="T0" fmla="*/ 32 w 40"/>
                  <a:gd name="T1" fmla="*/ 0 h 28"/>
                  <a:gd name="T2" fmla="*/ 32 w 40"/>
                  <a:gd name="T3" fmla="*/ 0 h 28"/>
                  <a:gd name="T4" fmla="*/ 30 w 40"/>
                  <a:gd name="T5" fmla="*/ 0 h 28"/>
                  <a:gd name="T6" fmla="*/ 0 w 40"/>
                  <a:gd name="T7" fmla="*/ 12 h 28"/>
                  <a:gd name="T8" fmla="*/ 0 w 40"/>
                  <a:gd name="T9" fmla="*/ 28 h 28"/>
                  <a:gd name="T10" fmla="*/ 36 w 40"/>
                  <a:gd name="T11" fmla="*/ 14 h 28"/>
                  <a:gd name="T12" fmla="*/ 36 w 40"/>
                  <a:gd name="T13" fmla="*/ 14 h 28"/>
                  <a:gd name="T14" fmla="*/ 38 w 40"/>
                  <a:gd name="T15" fmla="*/ 14 h 28"/>
                  <a:gd name="T16" fmla="*/ 40 w 40"/>
                  <a:gd name="T17" fmla="*/ 10 h 28"/>
                  <a:gd name="T18" fmla="*/ 40 w 40"/>
                  <a:gd name="T19" fmla="*/ 8 h 28"/>
                  <a:gd name="T20" fmla="*/ 40 w 40"/>
                  <a:gd name="T21" fmla="*/ 4 h 28"/>
                  <a:gd name="T22" fmla="*/ 40 w 40"/>
                  <a:gd name="T23" fmla="*/ 4 h 28"/>
                  <a:gd name="T24" fmla="*/ 36 w 40"/>
                  <a:gd name="T25" fmla="*/ 0 h 28"/>
                  <a:gd name="T26" fmla="*/ 32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32" y="0"/>
                    </a:moveTo>
                    <a:lnTo>
                      <a:pt x="32" y="0"/>
                    </a:lnTo>
                    <a:lnTo>
                      <a:pt x="30" y="0"/>
                    </a:lnTo>
                    <a:lnTo>
                      <a:pt x="0" y="12"/>
                    </a:lnTo>
                    <a:lnTo>
                      <a:pt x="0" y="2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6E4E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5" name="Freeform 1950">
                <a:extLst>
                  <a:ext uri="{FF2B5EF4-FFF2-40B4-BE49-F238E27FC236}">
                    <a16:creationId xmlns:a16="http://schemas.microsoft.com/office/drawing/2014/main" id="{0B59FA6E-AA24-4994-851A-B419C0751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49151" y="1785169"/>
                <a:ext cx="63500" cy="44450"/>
              </a:xfrm>
              <a:custGeom>
                <a:avLst/>
                <a:gdLst>
                  <a:gd name="T0" fmla="*/ 32 w 40"/>
                  <a:gd name="T1" fmla="*/ 0 h 28"/>
                  <a:gd name="T2" fmla="*/ 32 w 40"/>
                  <a:gd name="T3" fmla="*/ 0 h 28"/>
                  <a:gd name="T4" fmla="*/ 30 w 40"/>
                  <a:gd name="T5" fmla="*/ 0 h 28"/>
                  <a:gd name="T6" fmla="*/ 0 w 40"/>
                  <a:gd name="T7" fmla="*/ 12 h 28"/>
                  <a:gd name="T8" fmla="*/ 0 w 40"/>
                  <a:gd name="T9" fmla="*/ 28 h 28"/>
                  <a:gd name="T10" fmla="*/ 36 w 40"/>
                  <a:gd name="T11" fmla="*/ 14 h 28"/>
                  <a:gd name="T12" fmla="*/ 36 w 40"/>
                  <a:gd name="T13" fmla="*/ 14 h 28"/>
                  <a:gd name="T14" fmla="*/ 38 w 40"/>
                  <a:gd name="T15" fmla="*/ 14 h 28"/>
                  <a:gd name="T16" fmla="*/ 40 w 40"/>
                  <a:gd name="T17" fmla="*/ 10 h 28"/>
                  <a:gd name="T18" fmla="*/ 40 w 40"/>
                  <a:gd name="T19" fmla="*/ 8 h 28"/>
                  <a:gd name="T20" fmla="*/ 40 w 40"/>
                  <a:gd name="T21" fmla="*/ 4 h 28"/>
                  <a:gd name="T22" fmla="*/ 40 w 40"/>
                  <a:gd name="T23" fmla="*/ 4 h 28"/>
                  <a:gd name="T24" fmla="*/ 36 w 40"/>
                  <a:gd name="T25" fmla="*/ 0 h 28"/>
                  <a:gd name="T26" fmla="*/ 32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32" y="0"/>
                    </a:moveTo>
                    <a:lnTo>
                      <a:pt x="32" y="0"/>
                    </a:lnTo>
                    <a:lnTo>
                      <a:pt x="30" y="0"/>
                    </a:lnTo>
                    <a:lnTo>
                      <a:pt x="0" y="12"/>
                    </a:lnTo>
                    <a:lnTo>
                      <a:pt x="0" y="2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0"/>
                    </a:lnTo>
                    <a:lnTo>
                      <a:pt x="3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6" name="Freeform 1951">
                <a:extLst>
                  <a:ext uri="{FF2B5EF4-FFF2-40B4-BE49-F238E27FC236}">
                    <a16:creationId xmlns:a16="http://schemas.microsoft.com/office/drawing/2014/main" id="{AA2F477C-D5C4-4FD2-BB44-352AEF886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582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8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8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8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  <a:close/>
                  </a:path>
                </a:pathLst>
              </a:cu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7" name="Freeform 1952">
                <a:extLst>
                  <a:ext uri="{FF2B5EF4-FFF2-40B4-BE49-F238E27FC236}">
                    <a16:creationId xmlns:a16="http://schemas.microsoft.com/office/drawing/2014/main" id="{827C423F-5A42-4376-8CDF-E75BD8C3B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5826" y="1702619"/>
                <a:ext cx="228600" cy="209550"/>
              </a:xfrm>
              <a:custGeom>
                <a:avLst/>
                <a:gdLst>
                  <a:gd name="T0" fmla="*/ 144 w 144"/>
                  <a:gd name="T1" fmla="*/ 66 h 132"/>
                  <a:gd name="T2" fmla="*/ 144 w 144"/>
                  <a:gd name="T3" fmla="*/ 66 h 132"/>
                  <a:gd name="T4" fmla="*/ 144 w 144"/>
                  <a:gd name="T5" fmla="*/ 80 h 132"/>
                  <a:gd name="T6" fmla="*/ 138 w 144"/>
                  <a:gd name="T7" fmla="*/ 92 h 132"/>
                  <a:gd name="T8" fmla="*/ 132 w 144"/>
                  <a:gd name="T9" fmla="*/ 104 h 132"/>
                  <a:gd name="T10" fmla="*/ 124 w 144"/>
                  <a:gd name="T11" fmla="*/ 112 h 132"/>
                  <a:gd name="T12" fmla="*/ 112 w 144"/>
                  <a:gd name="T13" fmla="*/ 120 h 132"/>
                  <a:gd name="T14" fmla="*/ 100 w 144"/>
                  <a:gd name="T15" fmla="*/ 126 h 132"/>
                  <a:gd name="T16" fmla="*/ 88 w 144"/>
                  <a:gd name="T17" fmla="*/ 130 h 132"/>
                  <a:gd name="T18" fmla="*/ 72 w 144"/>
                  <a:gd name="T19" fmla="*/ 132 h 132"/>
                  <a:gd name="T20" fmla="*/ 72 w 144"/>
                  <a:gd name="T21" fmla="*/ 132 h 132"/>
                  <a:gd name="T22" fmla="*/ 58 w 144"/>
                  <a:gd name="T23" fmla="*/ 130 h 132"/>
                  <a:gd name="T24" fmla="*/ 44 w 144"/>
                  <a:gd name="T25" fmla="*/ 126 h 132"/>
                  <a:gd name="T26" fmla="*/ 32 w 144"/>
                  <a:gd name="T27" fmla="*/ 120 h 132"/>
                  <a:gd name="T28" fmla="*/ 22 w 144"/>
                  <a:gd name="T29" fmla="*/ 112 h 132"/>
                  <a:gd name="T30" fmla="*/ 12 w 144"/>
                  <a:gd name="T31" fmla="*/ 104 h 132"/>
                  <a:gd name="T32" fmla="*/ 6 w 144"/>
                  <a:gd name="T33" fmla="*/ 92 h 132"/>
                  <a:gd name="T34" fmla="*/ 2 w 144"/>
                  <a:gd name="T35" fmla="*/ 80 h 132"/>
                  <a:gd name="T36" fmla="*/ 0 w 144"/>
                  <a:gd name="T37" fmla="*/ 66 h 132"/>
                  <a:gd name="T38" fmla="*/ 0 w 144"/>
                  <a:gd name="T39" fmla="*/ 66 h 132"/>
                  <a:gd name="T40" fmla="*/ 2 w 144"/>
                  <a:gd name="T41" fmla="*/ 52 h 132"/>
                  <a:gd name="T42" fmla="*/ 6 w 144"/>
                  <a:gd name="T43" fmla="*/ 40 h 132"/>
                  <a:gd name="T44" fmla="*/ 12 w 144"/>
                  <a:gd name="T45" fmla="*/ 30 h 132"/>
                  <a:gd name="T46" fmla="*/ 22 w 144"/>
                  <a:gd name="T47" fmla="*/ 20 h 132"/>
                  <a:gd name="T48" fmla="*/ 32 w 144"/>
                  <a:gd name="T49" fmla="*/ 12 h 132"/>
                  <a:gd name="T50" fmla="*/ 44 w 144"/>
                  <a:gd name="T51" fmla="*/ 6 h 132"/>
                  <a:gd name="T52" fmla="*/ 58 w 144"/>
                  <a:gd name="T53" fmla="*/ 2 h 132"/>
                  <a:gd name="T54" fmla="*/ 72 w 144"/>
                  <a:gd name="T55" fmla="*/ 0 h 132"/>
                  <a:gd name="T56" fmla="*/ 72 w 144"/>
                  <a:gd name="T57" fmla="*/ 0 h 132"/>
                  <a:gd name="T58" fmla="*/ 88 w 144"/>
                  <a:gd name="T59" fmla="*/ 2 h 132"/>
                  <a:gd name="T60" fmla="*/ 100 w 144"/>
                  <a:gd name="T61" fmla="*/ 6 h 132"/>
                  <a:gd name="T62" fmla="*/ 112 w 144"/>
                  <a:gd name="T63" fmla="*/ 12 h 132"/>
                  <a:gd name="T64" fmla="*/ 124 w 144"/>
                  <a:gd name="T65" fmla="*/ 20 h 132"/>
                  <a:gd name="T66" fmla="*/ 132 w 144"/>
                  <a:gd name="T67" fmla="*/ 30 h 132"/>
                  <a:gd name="T68" fmla="*/ 138 w 144"/>
                  <a:gd name="T69" fmla="*/ 40 h 132"/>
                  <a:gd name="T70" fmla="*/ 144 w 144"/>
                  <a:gd name="T71" fmla="*/ 52 h 132"/>
                  <a:gd name="T72" fmla="*/ 144 w 144"/>
                  <a:gd name="T73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4" h="132">
                    <a:moveTo>
                      <a:pt x="144" y="66"/>
                    </a:moveTo>
                    <a:lnTo>
                      <a:pt x="144" y="66"/>
                    </a:lnTo>
                    <a:lnTo>
                      <a:pt x="144" y="80"/>
                    </a:lnTo>
                    <a:lnTo>
                      <a:pt x="138" y="92"/>
                    </a:lnTo>
                    <a:lnTo>
                      <a:pt x="132" y="104"/>
                    </a:lnTo>
                    <a:lnTo>
                      <a:pt x="124" y="112"/>
                    </a:lnTo>
                    <a:lnTo>
                      <a:pt x="112" y="120"/>
                    </a:lnTo>
                    <a:lnTo>
                      <a:pt x="100" y="126"/>
                    </a:lnTo>
                    <a:lnTo>
                      <a:pt x="88" y="130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58" y="130"/>
                    </a:lnTo>
                    <a:lnTo>
                      <a:pt x="44" y="126"/>
                    </a:lnTo>
                    <a:lnTo>
                      <a:pt x="32" y="120"/>
                    </a:lnTo>
                    <a:lnTo>
                      <a:pt x="22" y="112"/>
                    </a:lnTo>
                    <a:lnTo>
                      <a:pt x="12" y="104"/>
                    </a:lnTo>
                    <a:lnTo>
                      <a:pt x="6" y="92"/>
                    </a:lnTo>
                    <a:lnTo>
                      <a:pt x="2" y="8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52"/>
                    </a:lnTo>
                    <a:lnTo>
                      <a:pt x="6" y="40"/>
                    </a:lnTo>
                    <a:lnTo>
                      <a:pt x="12" y="30"/>
                    </a:lnTo>
                    <a:lnTo>
                      <a:pt x="22" y="20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0" y="6"/>
                    </a:lnTo>
                    <a:lnTo>
                      <a:pt x="112" y="12"/>
                    </a:lnTo>
                    <a:lnTo>
                      <a:pt x="124" y="20"/>
                    </a:lnTo>
                    <a:lnTo>
                      <a:pt x="132" y="30"/>
                    </a:lnTo>
                    <a:lnTo>
                      <a:pt x="138" y="40"/>
                    </a:lnTo>
                    <a:lnTo>
                      <a:pt x="144" y="52"/>
                    </a:lnTo>
                    <a:lnTo>
                      <a:pt x="144" y="6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8" name="Freeform 1953">
                <a:extLst>
                  <a:ext uri="{FF2B5EF4-FFF2-40B4-BE49-F238E27FC236}">
                    <a16:creationId xmlns:a16="http://schemas.microsoft.com/office/drawing/2014/main" id="{3F08172C-7183-4779-8F1D-729608446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0276" y="1785169"/>
                <a:ext cx="63500" cy="44450"/>
              </a:xfrm>
              <a:custGeom>
                <a:avLst/>
                <a:gdLst>
                  <a:gd name="T0" fmla="*/ 8 w 40"/>
                  <a:gd name="T1" fmla="*/ 0 h 28"/>
                  <a:gd name="T2" fmla="*/ 8 w 40"/>
                  <a:gd name="T3" fmla="*/ 0 h 28"/>
                  <a:gd name="T4" fmla="*/ 4 w 40"/>
                  <a:gd name="T5" fmla="*/ 0 h 28"/>
                  <a:gd name="T6" fmla="*/ 2 w 40"/>
                  <a:gd name="T7" fmla="*/ 4 h 28"/>
                  <a:gd name="T8" fmla="*/ 2 w 40"/>
                  <a:gd name="T9" fmla="*/ 4 h 28"/>
                  <a:gd name="T10" fmla="*/ 0 w 40"/>
                  <a:gd name="T11" fmla="*/ 8 h 28"/>
                  <a:gd name="T12" fmla="*/ 2 w 40"/>
                  <a:gd name="T13" fmla="*/ 10 h 28"/>
                  <a:gd name="T14" fmla="*/ 4 w 40"/>
                  <a:gd name="T15" fmla="*/ 14 h 28"/>
                  <a:gd name="T16" fmla="*/ 6 w 40"/>
                  <a:gd name="T17" fmla="*/ 14 h 28"/>
                  <a:gd name="T18" fmla="*/ 40 w 40"/>
                  <a:gd name="T19" fmla="*/ 28 h 28"/>
                  <a:gd name="T20" fmla="*/ 38 w 40"/>
                  <a:gd name="T21" fmla="*/ 10 h 28"/>
                  <a:gd name="T22" fmla="*/ 12 w 40"/>
                  <a:gd name="T23" fmla="*/ 0 h 28"/>
                  <a:gd name="T24" fmla="*/ 12 w 40"/>
                  <a:gd name="T25" fmla="*/ 0 h 28"/>
                  <a:gd name="T26" fmla="*/ 8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0" y="28"/>
                    </a:lnTo>
                    <a:lnTo>
                      <a:pt x="38" y="1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6E4E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9" name="Freeform 1954">
                <a:extLst>
                  <a:ext uri="{FF2B5EF4-FFF2-40B4-BE49-F238E27FC236}">
                    <a16:creationId xmlns:a16="http://schemas.microsoft.com/office/drawing/2014/main" id="{12A54F5E-9E1B-4D9E-8467-B5451072F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0276" y="1785169"/>
                <a:ext cx="63500" cy="44450"/>
              </a:xfrm>
              <a:custGeom>
                <a:avLst/>
                <a:gdLst>
                  <a:gd name="T0" fmla="*/ 8 w 40"/>
                  <a:gd name="T1" fmla="*/ 0 h 28"/>
                  <a:gd name="T2" fmla="*/ 8 w 40"/>
                  <a:gd name="T3" fmla="*/ 0 h 28"/>
                  <a:gd name="T4" fmla="*/ 4 w 40"/>
                  <a:gd name="T5" fmla="*/ 0 h 28"/>
                  <a:gd name="T6" fmla="*/ 2 w 40"/>
                  <a:gd name="T7" fmla="*/ 4 h 28"/>
                  <a:gd name="T8" fmla="*/ 2 w 40"/>
                  <a:gd name="T9" fmla="*/ 4 h 28"/>
                  <a:gd name="T10" fmla="*/ 0 w 40"/>
                  <a:gd name="T11" fmla="*/ 8 h 28"/>
                  <a:gd name="T12" fmla="*/ 2 w 40"/>
                  <a:gd name="T13" fmla="*/ 10 h 28"/>
                  <a:gd name="T14" fmla="*/ 4 w 40"/>
                  <a:gd name="T15" fmla="*/ 14 h 28"/>
                  <a:gd name="T16" fmla="*/ 6 w 40"/>
                  <a:gd name="T17" fmla="*/ 14 h 28"/>
                  <a:gd name="T18" fmla="*/ 40 w 40"/>
                  <a:gd name="T19" fmla="*/ 28 h 28"/>
                  <a:gd name="T20" fmla="*/ 38 w 40"/>
                  <a:gd name="T21" fmla="*/ 10 h 28"/>
                  <a:gd name="T22" fmla="*/ 12 w 40"/>
                  <a:gd name="T23" fmla="*/ 0 h 28"/>
                  <a:gd name="T24" fmla="*/ 12 w 40"/>
                  <a:gd name="T25" fmla="*/ 0 h 28"/>
                  <a:gd name="T26" fmla="*/ 8 w 40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0" y="28"/>
                    </a:lnTo>
                    <a:lnTo>
                      <a:pt x="38" y="1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0" name="Freeform 1955">
                <a:extLst>
                  <a:ext uri="{FF2B5EF4-FFF2-40B4-BE49-F238E27FC236}">
                    <a16:creationId xmlns:a16="http://schemas.microsoft.com/office/drawing/2014/main" id="{B1C458FE-BBCD-47F5-AFDA-3509AE10A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7901" y="1105719"/>
                <a:ext cx="1111250" cy="1250950"/>
              </a:xfrm>
              <a:custGeom>
                <a:avLst/>
                <a:gdLst>
                  <a:gd name="T0" fmla="*/ 10 w 700"/>
                  <a:gd name="T1" fmla="*/ 490 h 788"/>
                  <a:gd name="T2" fmla="*/ 10 w 700"/>
                  <a:gd name="T3" fmla="*/ 490 h 788"/>
                  <a:gd name="T4" fmla="*/ 16 w 700"/>
                  <a:gd name="T5" fmla="*/ 520 h 788"/>
                  <a:gd name="T6" fmla="*/ 26 w 700"/>
                  <a:gd name="T7" fmla="*/ 550 h 788"/>
                  <a:gd name="T8" fmla="*/ 38 w 700"/>
                  <a:gd name="T9" fmla="*/ 578 h 788"/>
                  <a:gd name="T10" fmla="*/ 52 w 700"/>
                  <a:gd name="T11" fmla="*/ 606 h 788"/>
                  <a:gd name="T12" fmla="*/ 68 w 700"/>
                  <a:gd name="T13" fmla="*/ 632 h 788"/>
                  <a:gd name="T14" fmla="*/ 88 w 700"/>
                  <a:gd name="T15" fmla="*/ 656 h 788"/>
                  <a:gd name="T16" fmla="*/ 108 w 700"/>
                  <a:gd name="T17" fmla="*/ 680 h 788"/>
                  <a:gd name="T18" fmla="*/ 132 w 700"/>
                  <a:gd name="T19" fmla="*/ 700 h 788"/>
                  <a:gd name="T20" fmla="*/ 156 w 700"/>
                  <a:gd name="T21" fmla="*/ 720 h 788"/>
                  <a:gd name="T22" fmla="*/ 182 w 700"/>
                  <a:gd name="T23" fmla="*/ 738 h 788"/>
                  <a:gd name="T24" fmla="*/ 208 w 700"/>
                  <a:gd name="T25" fmla="*/ 752 h 788"/>
                  <a:gd name="T26" fmla="*/ 236 w 700"/>
                  <a:gd name="T27" fmla="*/ 766 h 788"/>
                  <a:gd name="T28" fmla="*/ 264 w 700"/>
                  <a:gd name="T29" fmla="*/ 776 h 788"/>
                  <a:gd name="T30" fmla="*/ 294 w 700"/>
                  <a:gd name="T31" fmla="*/ 782 h 788"/>
                  <a:gd name="T32" fmla="*/ 322 w 700"/>
                  <a:gd name="T33" fmla="*/ 788 h 788"/>
                  <a:gd name="T34" fmla="*/ 352 w 700"/>
                  <a:gd name="T35" fmla="*/ 788 h 788"/>
                  <a:gd name="T36" fmla="*/ 352 w 700"/>
                  <a:gd name="T37" fmla="*/ 788 h 788"/>
                  <a:gd name="T38" fmla="*/ 382 w 700"/>
                  <a:gd name="T39" fmla="*/ 788 h 788"/>
                  <a:gd name="T40" fmla="*/ 410 w 700"/>
                  <a:gd name="T41" fmla="*/ 784 h 788"/>
                  <a:gd name="T42" fmla="*/ 440 w 700"/>
                  <a:gd name="T43" fmla="*/ 776 h 788"/>
                  <a:gd name="T44" fmla="*/ 468 w 700"/>
                  <a:gd name="T45" fmla="*/ 768 h 788"/>
                  <a:gd name="T46" fmla="*/ 494 w 700"/>
                  <a:gd name="T47" fmla="*/ 756 h 788"/>
                  <a:gd name="T48" fmla="*/ 522 w 700"/>
                  <a:gd name="T49" fmla="*/ 742 h 788"/>
                  <a:gd name="T50" fmla="*/ 548 w 700"/>
                  <a:gd name="T51" fmla="*/ 724 h 788"/>
                  <a:gd name="T52" fmla="*/ 572 w 700"/>
                  <a:gd name="T53" fmla="*/ 706 h 788"/>
                  <a:gd name="T54" fmla="*/ 594 w 700"/>
                  <a:gd name="T55" fmla="*/ 686 h 788"/>
                  <a:gd name="T56" fmla="*/ 616 w 700"/>
                  <a:gd name="T57" fmla="*/ 664 h 788"/>
                  <a:gd name="T58" fmla="*/ 636 w 700"/>
                  <a:gd name="T59" fmla="*/ 638 h 788"/>
                  <a:gd name="T60" fmla="*/ 652 w 700"/>
                  <a:gd name="T61" fmla="*/ 612 h 788"/>
                  <a:gd name="T62" fmla="*/ 668 w 700"/>
                  <a:gd name="T63" fmla="*/ 584 h 788"/>
                  <a:gd name="T64" fmla="*/ 682 w 700"/>
                  <a:gd name="T65" fmla="*/ 554 h 788"/>
                  <a:gd name="T66" fmla="*/ 692 w 700"/>
                  <a:gd name="T67" fmla="*/ 524 h 788"/>
                  <a:gd name="T68" fmla="*/ 700 w 700"/>
                  <a:gd name="T69" fmla="*/ 492 h 788"/>
                  <a:gd name="T70" fmla="*/ 700 w 700"/>
                  <a:gd name="T71" fmla="*/ 64 h 788"/>
                  <a:gd name="T72" fmla="*/ 700 w 700"/>
                  <a:gd name="T73" fmla="*/ 64 h 788"/>
                  <a:gd name="T74" fmla="*/ 662 w 700"/>
                  <a:gd name="T75" fmla="*/ 54 h 788"/>
                  <a:gd name="T76" fmla="*/ 572 w 700"/>
                  <a:gd name="T77" fmla="*/ 32 h 788"/>
                  <a:gd name="T78" fmla="*/ 516 w 700"/>
                  <a:gd name="T79" fmla="*/ 20 h 788"/>
                  <a:gd name="T80" fmla="*/ 458 w 700"/>
                  <a:gd name="T81" fmla="*/ 10 h 788"/>
                  <a:gd name="T82" fmla="*/ 404 w 700"/>
                  <a:gd name="T83" fmla="*/ 4 h 788"/>
                  <a:gd name="T84" fmla="*/ 378 w 700"/>
                  <a:gd name="T85" fmla="*/ 2 h 788"/>
                  <a:gd name="T86" fmla="*/ 356 w 700"/>
                  <a:gd name="T87" fmla="*/ 0 h 788"/>
                  <a:gd name="T88" fmla="*/ 356 w 700"/>
                  <a:gd name="T89" fmla="*/ 0 h 788"/>
                  <a:gd name="T90" fmla="*/ 316 w 700"/>
                  <a:gd name="T91" fmla="*/ 2 h 788"/>
                  <a:gd name="T92" fmla="*/ 278 w 700"/>
                  <a:gd name="T93" fmla="*/ 4 h 788"/>
                  <a:gd name="T94" fmla="*/ 208 w 700"/>
                  <a:gd name="T95" fmla="*/ 10 h 788"/>
                  <a:gd name="T96" fmla="*/ 148 w 700"/>
                  <a:gd name="T97" fmla="*/ 20 h 788"/>
                  <a:gd name="T98" fmla="*/ 96 w 700"/>
                  <a:gd name="T99" fmla="*/ 32 h 788"/>
                  <a:gd name="T100" fmla="*/ 56 w 700"/>
                  <a:gd name="T101" fmla="*/ 44 h 788"/>
                  <a:gd name="T102" fmla="*/ 24 w 700"/>
                  <a:gd name="T103" fmla="*/ 54 h 788"/>
                  <a:gd name="T104" fmla="*/ 0 w 700"/>
                  <a:gd name="T105" fmla="*/ 64 h 788"/>
                  <a:gd name="T106" fmla="*/ 10 w 700"/>
                  <a:gd name="T107" fmla="*/ 490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00" h="788">
                    <a:moveTo>
                      <a:pt x="10" y="490"/>
                    </a:moveTo>
                    <a:lnTo>
                      <a:pt x="10" y="490"/>
                    </a:lnTo>
                    <a:lnTo>
                      <a:pt x="16" y="520"/>
                    </a:lnTo>
                    <a:lnTo>
                      <a:pt x="26" y="550"/>
                    </a:lnTo>
                    <a:lnTo>
                      <a:pt x="38" y="578"/>
                    </a:lnTo>
                    <a:lnTo>
                      <a:pt x="52" y="606"/>
                    </a:lnTo>
                    <a:lnTo>
                      <a:pt x="68" y="632"/>
                    </a:lnTo>
                    <a:lnTo>
                      <a:pt x="88" y="656"/>
                    </a:lnTo>
                    <a:lnTo>
                      <a:pt x="108" y="680"/>
                    </a:lnTo>
                    <a:lnTo>
                      <a:pt x="132" y="700"/>
                    </a:lnTo>
                    <a:lnTo>
                      <a:pt x="156" y="720"/>
                    </a:lnTo>
                    <a:lnTo>
                      <a:pt x="182" y="738"/>
                    </a:lnTo>
                    <a:lnTo>
                      <a:pt x="208" y="752"/>
                    </a:lnTo>
                    <a:lnTo>
                      <a:pt x="236" y="766"/>
                    </a:lnTo>
                    <a:lnTo>
                      <a:pt x="264" y="776"/>
                    </a:lnTo>
                    <a:lnTo>
                      <a:pt x="294" y="782"/>
                    </a:lnTo>
                    <a:lnTo>
                      <a:pt x="322" y="788"/>
                    </a:lnTo>
                    <a:lnTo>
                      <a:pt x="352" y="788"/>
                    </a:lnTo>
                    <a:lnTo>
                      <a:pt x="352" y="788"/>
                    </a:lnTo>
                    <a:lnTo>
                      <a:pt x="382" y="788"/>
                    </a:lnTo>
                    <a:lnTo>
                      <a:pt x="410" y="784"/>
                    </a:lnTo>
                    <a:lnTo>
                      <a:pt x="440" y="776"/>
                    </a:lnTo>
                    <a:lnTo>
                      <a:pt x="468" y="768"/>
                    </a:lnTo>
                    <a:lnTo>
                      <a:pt x="494" y="756"/>
                    </a:lnTo>
                    <a:lnTo>
                      <a:pt x="522" y="742"/>
                    </a:lnTo>
                    <a:lnTo>
                      <a:pt x="548" y="724"/>
                    </a:lnTo>
                    <a:lnTo>
                      <a:pt x="572" y="706"/>
                    </a:lnTo>
                    <a:lnTo>
                      <a:pt x="594" y="686"/>
                    </a:lnTo>
                    <a:lnTo>
                      <a:pt x="616" y="664"/>
                    </a:lnTo>
                    <a:lnTo>
                      <a:pt x="636" y="638"/>
                    </a:lnTo>
                    <a:lnTo>
                      <a:pt x="652" y="612"/>
                    </a:lnTo>
                    <a:lnTo>
                      <a:pt x="668" y="584"/>
                    </a:lnTo>
                    <a:lnTo>
                      <a:pt x="682" y="554"/>
                    </a:lnTo>
                    <a:lnTo>
                      <a:pt x="692" y="524"/>
                    </a:lnTo>
                    <a:lnTo>
                      <a:pt x="700" y="492"/>
                    </a:lnTo>
                    <a:lnTo>
                      <a:pt x="700" y="64"/>
                    </a:lnTo>
                    <a:lnTo>
                      <a:pt x="700" y="64"/>
                    </a:lnTo>
                    <a:lnTo>
                      <a:pt x="662" y="54"/>
                    </a:lnTo>
                    <a:lnTo>
                      <a:pt x="572" y="32"/>
                    </a:lnTo>
                    <a:lnTo>
                      <a:pt x="516" y="20"/>
                    </a:lnTo>
                    <a:lnTo>
                      <a:pt x="458" y="10"/>
                    </a:lnTo>
                    <a:lnTo>
                      <a:pt x="404" y="4"/>
                    </a:lnTo>
                    <a:lnTo>
                      <a:pt x="378" y="2"/>
                    </a:lnTo>
                    <a:lnTo>
                      <a:pt x="356" y="0"/>
                    </a:lnTo>
                    <a:lnTo>
                      <a:pt x="356" y="0"/>
                    </a:lnTo>
                    <a:lnTo>
                      <a:pt x="316" y="2"/>
                    </a:lnTo>
                    <a:lnTo>
                      <a:pt x="278" y="4"/>
                    </a:lnTo>
                    <a:lnTo>
                      <a:pt x="208" y="10"/>
                    </a:lnTo>
                    <a:lnTo>
                      <a:pt x="148" y="20"/>
                    </a:lnTo>
                    <a:lnTo>
                      <a:pt x="96" y="32"/>
                    </a:lnTo>
                    <a:lnTo>
                      <a:pt x="56" y="44"/>
                    </a:lnTo>
                    <a:lnTo>
                      <a:pt x="24" y="54"/>
                    </a:lnTo>
                    <a:lnTo>
                      <a:pt x="0" y="64"/>
                    </a:lnTo>
                    <a:lnTo>
                      <a:pt x="10" y="490"/>
                    </a:lnTo>
                    <a:close/>
                  </a:path>
                </a:pathLst>
              </a:custGeom>
              <a:solidFill>
                <a:srgbClr val="D88E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1" name="Freeform 1956">
                <a:extLst>
                  <a:ext uri="{FF2B5EF4-FFF2-40B4-BE49-F238E27FC236}">
                    <a16:creationId xmlns:a16="http://schemas.microsoft.com/office/drawing/2014/main" id="{08302C68-173E-4AFD-936E-712B5097A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7901" y="1105719"/>
                <a:ext cx="1111250" cy="1250950"/>
              </a:xfrm>
              <a:custGeom>
                <a:avLst/>
                <a:gdLst>
                  <a:gd name="T0" fmla="*/ 10 w 700"/>
                  <a:gd name="T1" fmla="*/ 490 h 788"/>
                  <a:gd name="T2" fmla="*/ 10 w 700"/>
                  <a:gd name="T3" fmla="*/ 490 h 788"/>
                  <a:gd name="T4" fmla="*/ 16 w 700"/>
                  <a:gd name="T5" fmla="*/ 520 h 788"/>
                  <a:gd name="T6" fmla="*/ 26 w 700"/>
                  <a:gd name="T7" fmla="*/ 550 h 788"/>
                  <a:gd name="T8" fmla="*/ 38 w 700"/>
                  <a:gd name="T9" fmla="*/ 578 h 788"/>
                  <a:gd name="T10" fmla="*/ 52 w 700"/>
                  <a:gd name="T11" fmla="*/ 606 h 788"/>
                  <a:gd name="T12" fmla="*/ 68 w 700"/>
                  <a:gd name="T13" fmla="*/ 632 h 788"/>
                  <a:gd name="T14" fmla="*/ 88 w 700"/>
                  <a:gd name="T15" fmla="*/ 656 h 788"/>
                  <a:gd name="T16" fmla="*/ 108 w 700"/>
                  <a:gd name="T17" fmla="*/ 680 h 788"/>
                  <a:gd name="T18" fmla="*/ 132 w 700"/>
                  <a:gd name="T19" fmla="*/ 700 h 788"/>
                  <a:gd name="T20" fmla="*/ 156 w 700"/>
                  <a:gd name="T21" fmla="*/ 720 h 788"/>
                  <a:gd name="T22" fmla="*/ 182 w 700"/>
                  <a:gd name="T23" fmla="*/ 738 h 788"/>
                  <a:gd name="T24" fmla="*/ 208 w 700"/>
                  <a:gd name="T25" fmla="*/ 752 h 788"/>
                  <a:gd name="T26" fmla="*/ 236 w 700"/>
                  <a:gd name="T27" fmla="*/ 766 h 788"/>
                  <a:gd name="T28" fmla="*/ 264 w 700"/>
                  <a:gd name="T29" fmla="*/ 776 h 788"/>
                  <a:gd name="T30" fmla="*/ 294 w 700"/>
                  <a:gd name="T31" fmla="*/ 782 h 788"/>
                  <a:gd name="T32" fmla="*/ 322 w 700"/>
                  <a:gd name="T33" fmla="*/ 788 h 788"/>
                  <a:gd name="T34" fmla="*/ 352 w 700"/>
                  <a:gd name="T35" fmla="*/ 788 h 788"/>
                  <a:gd name="T36" fmla="*/ 352 w 700"/>
                  <a:gd name="T37" fmla="*/ 788 h 788"/>
                  <a:gd name="T38" fmla="*/ 382 w 700"/>
                  <a:gd name="T39" fmla="*/ 788 h 788"/>
                  <a:gd name="T40" fmla="*/ 410 w 700"/>
                  <a:gd name="T41" fmla="*/ 784 h 788"/>
                  <a:gd name="T42" fmla="*/ 440 w 700"/>
                  <a:gd name="T43" fmla="*/ 776 h 788"/>
                  <a:gd name="T44" fmla="*/ 468 w 700"/>
                  <a:gd name="T45" fmla="*/ 768 h 788"/>
                  <a:gd name="T46" fmla="*/ 494 w 700"/>
                  <a:gd name="T47" fmla="*/ 756 h 788"/>
                  <a:gd name="T48" fmla="*/ 522 w 700"/>
                  <a:gd name="T49" fmla="*/ 742 h 788"/>
                  <a:gd name="T50" fmla="*/ 548 w 700"/>
                  <a:gd name="T51" fmla="*/ 724 h 788"/>
                  <a:gd name="T52" fmla="*/ 572 w 700"/>
                  <a:gd name="T53" fmla="*/ 706 h 788"/>
                  <a:gd name="T54" fmla="*/ 594 w 700"/>
                  <a:gd name="T55" fmla="*/ 686 h 788"/>
                  <a:gd name="T56" fmla="*/ 616 w 700"/>
                  <a:gd name="T57" fmla="*/ 664 h 788"/>
                  <a:gd name="T58" fmla="*/ 636 w 700"/>
                  <a:gd name="T59" fmla="*/ 638 h 788"/>
                  <a:gd name="T60" fmla="*/ 652 w 700"/>
                  <a:gd name="T61" fmla="*/ 612 h 788"/>
                  <a:gd name="T62" fmla="*/ 668 w 700"/>
                  <a:gd name="T63" fmla="*/ 584 h 788"/>
                  <a:gd name="T64" fmla="*/ 682 w 700"/>
                  <a:gd name="T65" fmla="*/ 554 h 788"/>
                  <a:gd name="T66" fmla="*/ 692 w 700"/>
                  <a:gd name="T67" fmla="*/ 524 h 788"/>
                  <a:gd name="T68" fmla="*/ 700 w 700"/>
                  <a:gd name="T69" fmla="*/ 492 h 788"/>
                  <a:gd name="T70" fmla="*/ 700 w 700"/>
                  <a:gd name="T71" fmla="*/ 64 h 788"/>
                  <a:gd name="T72" fmla="*/ 700 w 700"/>
                  <a:gd name="T73" fmla="*/ 64 h 788"/>
                  <a:gd name="T74" fmla="*/ 662 w 700"/>
                  <a:gd name="T75" fmla="*/ 54 h 788"/>
                  <a:gd name="T76" fmla="*/ 572 w 700"/>
                  <a:gd name="T77" fmla="*/ 32 h 788"/>
                  <a:gd name="T78" fmla="*/ 516 w 700"/>
                  <a:gd name="T79" fmla="*/ 20 h 788"/>
                  <a:gd name="T80" fmla="*/ 458 w 700"/>
                  <a:gd name="T81" fmla="*/ 10 h 788"/>
                  <a:gd name="T82" fmla="*/ 404 w 700"/>
                  <a:gd name="T83" fmla="*/ 4 h 788"/>
                  <a:gd name="T84" fmla="*/ 378 w 700"/>
                  <a:gd name="T85" fmla="*/ 2 h 788"/>
                  <a:gd name="T86" fmla="*/ 356 w 700"/>
                  <a:gd name="T87" fmla="*/ 0 h 788"/>
                  <a:gd name="T88" fmla="*/ 356 w 700"/>
                  <a:gd name="T89" fmla="*/ 0 h 788"/>
                  <a:gd name="T90" fmla="*/ 316 w 700"/>
                  <a:gd name="T91" fmla="*/ 2 h 788"/>
                  <a:gd name="T92" fmla="*/ 278 w 700"/>
                  <a:gd name="T93" fmla="*/ 4 h 788"/>
                  <a:gd name="T94" fmla="*/ 208 w 700"/>
                  <a:gd name="T95" fmla="*/ 10 h 788"/>
                  <a:gd name="T96" fmla="*/ 148 w 700"/>
                  <a:gd name="T97" fmla="*/ 20 h 788"/>
                  <a:gd name="T98" fmla="*/ 96 w 700"/>
                  <a:gd name="T99" fmla="*/ 32 h 788"/>
                  <a:gd name="T100" fmla="*/ 56 w 700"/>
                  <a:gd name="T101" fmla="*/ 44 h 788"/>
                  <a:gd name="T102" fmla="*/ 24 w 700"/>
                  <a:gd name="T103" fmla="*/ 54 h 788"/>
                  <a:gd name="T104" fmla="*/ 0 w 700"/>
                  <a:gd name="T105" fmla="*/ 64 h 788"/>
                  <a:gd name="T106" fmla="*/ 10 w 700"/>
                  <a:gd name="T107" fmla="*/ 490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00" h="788">
                    <a:moveTo>
                      <a:pt x="10" y="490"/>
                    </a:moveTo>
                    <a:lnTo>
                      <a:pt x="10" y="490"/>
                    </a:lnTo>
                    <a:lnTo>
                      <a:pt x="16" y="520"/>
                    </a:lnTo>
                    <a:lnTo>
                      <a:pt x="26" y="550"/>
                    </a:lnTo>
                    <a:lnTo>
                      <a:pt x="38" y="578"/>
                    </a:lnTo>
                    <a:lnTo>
                      <a:pt x="52" y="606"/>
                    </a:lnTo>
                    <a:lnTo>
                      <a:pt x="68" y="632"/>
                    </a:lnTo>
                    <a:lnTo>
                      <a:pt x="88" y="656"/>
                    </a:lnTo>
                    <a:lnTo>
                      <a:pt x="108" y="680"/>
                    </a:lnTo>
                    <a:lnTo>
                      <a:pt x="132" y="700"/>
                    </a:lnTo>
                    <a:lnTo>
                      <a:pt x="156" y="720"/>
                    </a:lnTo>
                    <a:lnTo>
                      <a:pt x="182" y="738"/>
                    </a:lnTo>
                    <a:lnTo>
                      <a:pt x="208" y="752"/>
                    </a:lnTo>
                    <a:lnTo>
                      <a:pt x="236" y="766"/>
                    </a:lnTo>
                    <a:lnTo>
                      <a:pt x="264" y="776"/>
                    </a:lnTo>
                    <a:lnTo>
                      <a:pt x="294" y="782"/>
                    </a:lnTo>
                    <a:lnTo>
                      <a:pt x="322" y="788"/>
                    </a:lnTo>
                    <a:lnTo>
                      <a:pt x="352" y="788"/>
                    </a:lnTo>
                    <a:lnTo>
                      <a:pt x="352" y="788"/>
                    </a:lnTo>
                    <a:lnTo>
                      <a:pt x="382" y="788"/>
                    </a:lnTo>
                    <a:lnTo>
                      <a:pt x="410" y="784"/>
                    </a:lnTo>
                    <a:lnTo>
                      <a:pt x="440" y="776"/>
                    </a:lnTo>
                    <a:lnTo>
                      <a:pt x="468" y="768"/>
                    </a:lnTo>
                    <a:lnTo>
                      <a:pt x="494" y="756"/>
                    </a:lnTo>
                    <a:lnTo>
                      <a:pt x="522" y="742"/>
                    </a:lnTo>
                    <a:lnTo>
                      <a:pt x="548" y="724"/>
                    </a:lnTo>
                    <a:lnTo>
                      <a:pt x="572" y="706"/>
                    </a:lnTo>
                    <a:lnTo>
                      <a:pt x="594" y="686"/>
                    </a:lnTo>
                    <a:lnTo>
                      <a:pt x="616" y="664"/>
                    </a:lnTo>
                    <a:lnTo>
                      <a:pt x="636" y="638"/>
                    </a:lnTo>
                    <a:lnTo>
                      <a:pt x="652" y="612"/>
                    </a:lnTo>
                    <a:lnTo>
                      <a:pt x="668" y="584"/>
                    </a:lnTo>
                    <a:lnTo>
                      <a:pt x="682" y="554"/>
                    </a:lnTo>
                    <a:lnTo>
                      <a:pt x="692" y="524"/>
                    </a:lnTo>
                    <a:lnTo>
                      <a:pt x="700" y="492"/>
                    </a:lnTo>
                    <a:lnTo>
                      <a:pt x="700" y="64"/>
                    </a:lnTo>
                    <a:lnTo>
                      <a:pt x="700" y="64"/>
                    </a:lnTo>
                    <a:lnTo>
                      <a:pt x="662" y="54"/>
                    </a:lnTo>
                    <a:lnTo>
                      <a:pt x="572" y="32"/>
                    </a:lnTo>
                    <a:lnTo>
                      <a:pt x="516" y="20"/>
                    </a:lnTo>
                    <a:lnTo>
                      <a:pt x="458" y="10"/>
                    </a:lnTo>
                    <a:lnTo>
                      <a:pt x="404" y="4"/>
                    </a:lnTo>
                    <a:lnTo>
                      <a:pt x="378" y="2"/>
                    </a:lnTo>
                    <a:lnTo>
                      <a:pt x="356" y="0"/>
                    </a:lnTo>
                    <a:lnTo>
                      <a:pt x="356" y="0"/>
                    </a:lnTo>
                    <a:lnTo>
                      <a:pt x="316" y="2"/>
                    </a:lnTo>
                    <a:lnTo>
                      <a:pt x="278" y="4"/>
                    </a:lnTo>
                    <a:lnTo>
                      <a:pt x="208" y="10"/>
                    </a:lnTo>
                    <a:lnTo>
                      <a:pt x="148" y="20"/>
                    </a:lnTo>
                    <a:lnTo>
                      <a:pt x="96" y="32"/>
                    </a:lnTo>
                    <a:lnTo>
                      <a:pt x="56" y="44"/>
                    </a:lnTo>
                    <a:lnTo>
                      <a:pt x="24" y="54"/>
                    </a:lnTo>
                    <a:lnTo>
                      <a:pt x="0" y="64"/>
                    </a:lnTo>
                    <a:lnTo>
                      <a:pt x="10" y="49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2" name="Freeform 1957">
                <a:extLst>
                  <a:ext uri="{FF2B5EF4-FFF2-40B4-BE49-F238E27FC236}">
                    <a16:creationId xmlns:a16="http://schemas.microsoft.com/office/drawing/2014/main" id="{6AF9B14A-54DF-4553-8D14-776747EC8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3776" y="1877244"/>
                <a:ext cx="0" cy="6350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3" name="Freeform 1958">
                <a:extLst>
                  <a:ext uri="{FF2B5EF4-FFF2-40B4-BE49-F238E27FC236}">
                    <a16:creationId xmlns:a16="http://schemas.microsoft.com/office/drawing/2014/main" id="{81FC43A2-1ACB-4940-930E-409C7F568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3776" y="1877244"/>
                <a:ext cx="0" cy="6350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4" name="Freeform 1959">
                <a:extLst>
                  <a:ext uri="{FF2B5EF4-FFF2-40B4-BE49-F238E27FC236}">
                    <a16:creationId xmlns:a16="http://schemas.microsoft.com/office/drawing/2014/main" id="{D96BB386-272D-421C-83B3-3E7149B85D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96701" y="2356669"/>
                <a:ext cx="22225" cy="0"/>
              </a:xfrm>
              <a:custGeom>
                <a:avLst/>
                <a:gdLst>
                  <a:gd name="T0" fmla="*/ 0 w 14"/>
                  <a:gd name="T1" fmla="*/ 0 w 14"/>
                  <a:gd name="T2" fmla="*/ 2 w 14"/>
                  <a:gd name="T3" fmla="*/ 0 w 14"/>
                  <a:gd name="T4" fmla="*/ 2 w 14"/>
                  <a:gd name="T5" fmla="*/ 2 w 14"/>
                  <a:gd name="T6" fmla="*/ 2 w 14"/>
                  <a:gd name="T7" fmla="*/ 4 w 14"/>
                  <a:gd name="T8" fmla="*/ 2 w 14"/>
                  <a:gd name="T9" fmla="*/ 4 w 14"/>
                  <a:gd name="T10" fmla="*/ 4 w 14"/>
                  <a:gd name="T11" fmla="*/ 4 w 14"/>
                  <a:gd name="T12" fmla="*/ 6 w 14"/>
                  <a:gd name="T13" fmla="*/ 4 w 14"/>
                  <a:gd name="T14" fmla="*/ 6 w 14"/>
                  <a:gd name="T15" fmla="*/ 6 w 14"/>
                  <a:gd name="T16" fmla="*/ 6 w 14"/>
                  <a:gd name="T17" fmla="*/ 6 w 14"/>
                  <a:gd name="T18" fmla="*/ 6 w 14"/>
                  <a:gd name="T19" fmla="*/ 6 w 14"/>
                  <a:gd name="T20" fmla="*/ 8 w 14"/>
                  <a:gd name="T21" fmla="*/ 8 w 14"/>
                  <a:gd name="T22" fmla="*/ 8 w 14"/>
                  <a:gd name="T23" fmla="*/ 8 w 14"/>
                  <a:gd name="T24" fmla="*/ 8 w 14"/>
                  <a:gd name="T25" fmla="*/ 10 w 14"/>
                  <a:gd name="T26" fmla="*/ 10 w 14"/>
                  <a:gd name="T27" fmla="*/ 10 w 14"/>
                  <a:gd name="T28" fmla="*/ 10 w 14"/>
                  <a:gd name="T29" fmla="*/ 10 w 14"/>
                  <a:gd name="T30" fmla="*/ 12 w 14"/>
                  <a:gd name="T31" fmla="*/ 10 w 14"/>
                  <a:gd name="T32" fmla="*/ 12 w 14"/>
                  <a:gd name="T33" fmla="*/ 12 w 14"/>
                  <a:gd name="T34" fmla="*/ 12 w 14"/>
                  <a:gd name="T35" fmla="*/ 14 w 14"/>
                  <a:gd name="T36" fmla="*/ 12 w 14"/>
                  <a:gd name="T37" fmla="*/ 14 w 14"/>
                  <a:gd name="T38" fmla="*/ 14 w 14"/>
                  <a:gd name="T39" fmla="*/ 14 w 14"/>
                  <a:gd name="T40" fmla="*/ 14 w 14"/>
                  <a:gd name="T41" fmla="*/ 14 w 1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  <a:cxn ang="0">
                    <a:pos x="T12" y="0"/>
                  </a:cxn>
                  <a:cxn ang="0">
                    <a:pos x="T13" y="0"/>
                  </a:cxn>
                  <a:cxn ang="0">
                    <a:pos x="T14" y="0"/>
                  </a:cxn>
                  <a:cxn ang="0">
                    <a:pos x="T15" y="0"/>
                  </a:cxn>
                  <a:cxn ang="0">
                    <a:pos x="T16" y="0"/>
                  </a:cxn>
                  <a:cxn ang="0">
                    <a:pos x="T17" y="0"/>
                  </a:cxn>
                  <a:cxn ang="0">
                    <a:pos x="T18" y="0"/>
                  </a:cxn>
                  <a:cxn ang="0">
                    <a:pos x="T19" y="0"/>
                  </a:cxn>
                  <a:cxn ang="0">
                    <a:pos x="T20" y="0"/>
                  </a:cxn>
                  <a:cxn ang="0">
                    <a:pos x="T21" y="0"/>
                  </a:cxn>
                  <a:cxn ang="0">
                    <a:pos x="T22" y="0"/>
                  </a:cxn>
                  <a:cxn ang="0">
                    <a:pos x="T23" y="0"/>
                  </a:cxn>
                  <a:cxn ang="0">
                    <a:pos x="T24" y="0"/>
                  </a:cxn>
                  <a:cxn ang="0">
                    <a:pos x="T25" y="0"/>
                  </a:cxn>
                  <a:cxn ang="0">
                    <a:pos x="T26" y="0"/>
                  </a:cxn>
                  <a:cxn ang="0">
                    <a:pos x="T27" y="0"/>
                  </a:cxn>
                  <a:cxn ang="0">
                    <a:pos x="T28" y="0"/>
                  </a:cxn>
                  <a:cxn ang="0">
                    <a:pos x="T29" y="0"/>
                  </a:cxn>
                  <a:cxn ang="0">
                    <a:pos x="T30" y="0"/>
                  </a:cxn>
                  <a:cxn ang="0">
                    <a:pos x="T31" y="0"/>
                  </a:cxn>
                  <a:cxn ang="0">
                    <a:pos x="T32" y="0"/>
                  </a:cxn>
                  <a:cxn ang="0">
                    <a:pos x="T33" y="0"/>
                  </a:cxn>
                  <a:cxn ang="0">
                    <a:pos x="T34" y="0"/>
                  </a:cxn>
                  <a:cxn ang="0">
                    <a:pos x="T35" y="0"/>
                  </a:cxn>
                  <a:cxn ang="0">
                    <a:pos x="T36" y="0"/>
                  </a:cxn>
                  <a:cxn ang="0">
                    <a:pos x="T37" y="0"/>
                  </a:cxn>
                  <a:cxn ang="0">
                    <a:pos x="T38" y="0"/>
                  </a:cxn>
                  <a:cxn ang="0">
                    <a:pos x="T39" y="0"/>
                  </a:cxn>
                  <a:cxn ang="0">
                    <a:pos x="T40" y="0"/>
                  </a:cxn>
                  <a:cxn ang="0">
                    <a:pos x="T41" y="0"/>
                  </a:cxn>
                </a:cxnLst>
                <a:rect l="0" t="0" r="r" b="b"/>
                <a:pathLst>
                  <a:path w="1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5" name="Rectangle 1960">
                <a:extLst>
                  <a:ext uri="{FF2B5EF4-FFF2-40B4-BE49-F238E27FC236}">
                    <a16:creationId xmlns:a16="http://schemas.microsoft.com/office/drawing/2014/main" id="{16A38E3B-9628-4853-BC4A-3FC02C3DB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7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6" name="Rectangle 1961">
                <a:extLst>
                  <a:ext uri="{FF2B5EF4-FFF2-40B4-BE49-F238E27FC236}">
                    <a16:creationId xmlns:a16="http://schemas.microsoft.com/office/drawing/2014/main" id="{619EB33F-B29E-4197-B6B9-5D40DEF6E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70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7" name="Rectangle 1962">
                <a:extLst>
                  <a:ext uri="{FF2B5EF4-FFF2-40B4-BE49-F238E27FC236}">
                    <a16:creationId xmlns:a16="http://schemas.microsoft.com/office/drawing/2014/main" id="{6A92C3EF-9CB9-46B0-BCF7-5A969A011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8" name="Rectangle 1963">
                <a:extLst>
                  <a:ext uri="{FF2B5EF4-FFF2-40B4-BE49-F238E27FC236}">
                    <a16:creationId xmlns:a16="http://schemas.microsoft.com/office/drawing/2014/main" id="{EEBAD10D-EC2C-488F-9935-904F573B4E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9" name="Rectangle 1964">
                <a:extLst>
                  <a:ext uri="{FF2B5EF4-FFF2-40B4-BE49-F238E27FC236}">
                    <a16:creationId xmlns:a16="http://schemas.microsoft.com/office/drawing/2014/main" id="{D1D3F030-B700-4390-8A8B-A572CC5481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0" name="Rectangle 1965">
                <a:extLst>
                  <a:ext uri="{FF2B5EF4-FFF2-40B4-BE49-F238E27FC236}">
                    <a16:creationId xmlns:a16="http://schemas.microsoft.com/office/drawing/2014/main" id="{85AE5CAF-7656-44A3-888F-59C6D0782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1" name="Rectangle 1966">
                <a:extLst>
                  <a:ext uri="{FF2B5EF4-FFF2-40B4-BE49-F238E27FC236}">
                    <a16:creationId xmlns:a16="http://schemas.microsoft.com/office/drawing/2014/main" id="{3862411D-5482-4021-985C-DA9AD27348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2" name="Rectangle 1967">
                <a:extLst>
                  <a:ext uri="{FF2B5EF4-FFF2-40B4-BE49-F238E27FC236}">
                    <a16:creationId xmlns:a16="http://schemas.microsoft.com/office/drawing/2014/main" id="{EFD6744D-930A-4B77-BE0B-67E69BC0F0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3" name="Rectangle 1968">
                <a:extLst>
                  <a:ext uri="{FF2B5EF4-FFF2-40B4-BE49-F238E27FC236}">
                    <a16:creationId xmlns:a16="http://schemas.microsoft.com/office/drawing/2014/main" id="{EAB3E83A-45A5-4D29-8415-D5432B773A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4" name="Rectangle 1969">
                <a:extLst>
                  <a:ext uri="{FF2B5EF4-FFF2-40B4-BE49-F238E27FC236}">
                    <a16:creationId xmlns:a16="http://schemas.microsoft.com/office/drawing/2014/main" id="{2550E120-9C1E-4728-9800-303B752F47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5" name="Rectangle 1970">
                <a:extLst>
                  <a:ext uri="{FF2B5EF4-FFF2-40B4-BE49-F238E27FC236}">
                    <a16:creationId xmlns:a16="http://schemas.microsoft.com/office/drawing/2014/main" id="{B0012B0C-9BF1-47F7-AF4F-D5C9AD7CF1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6" name="Rectangle 1971">
                <a:extLst>
                  <a:ext uri="{FF2B5EF4-FFF2-40B4-BE49-F238E27FC236}">
                    <a16:creationId xmlns:a16="http://schemas.microsoft.com/office/drawing/2014/main" id="{7071138D-ED95-46E0-ABE9-FB9B57BE4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7" name="Rectangle 1972">
                <a:extLst>
                  <a:ext uri="{FF2B5EF4-FFF2-40B4-BE49-F238E27FC236}">
                    <a16:creationId xmlns:a16="http://schemas.microsoft.com/office/drawing/2014/main" id="{ED0C8F27-28D0-41CD-A4C0-3BAAB46787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8" name="Rectangle 1973">
                <a:extLst>
                  <a:ext uri="{FF2B5EF4-FFF2-40B4-BE49-F238E27FC236}">
                    <a16:creationId xmlns:a16="http://schemas.microsoft.com/office/drawing/2014/main" id="{49523868-5C0B-44EA-8856-9AE4BF3466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9" name="Rectangle 1974">
                <a:extLst>
                  <a:ext uri="{FF2B5EF4-FFF2-40B4-BE49-F238E27FC236}">
                    <a16:creationId xmlns:a16="http://schemas.microsoft.com/office/drawing/2014/main" id="{51E37DF7-8334-4D9F-83A4-CF65D16E9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0" name="Rectangle 1975">
                <a:extLst>
                  <a:ext uri="{FF2B5EF4-FFF2-40B4-BE49-F238E27FC236}">
                    <a16:creationId xmlns:a16="http://schemas.microsoft.com/office/drawing/2014/main" id="{974703B6-4168-4690-B906-A784493343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1" name="Rectangle 1976">
                <a:extLst>
                  <a:ext uri="{FF2B5EF4-FFF2-40B4-BE49-F238E27FC236}">
                    <a16:creationId xmlns:a16="http://schemas.microsoft.com/office/drawing/2014/main" id="{3888025F-1048-4290-B8D4-34ED3DEACE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2" name="Freeform 1977">
                <a:extLst>
                  <a:ext uri="{FF2B5EF4-FFF2-40B4-BE49-F238E27FC236}">
                    <a16:creationId xmlns:a16="http://schemas.microsoft.com/office/drawing/2014/main" id="{26C5BE79-C942-4B44-B5EB-83F149382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3776" y="1877244"/>
                <a:ext cx="542925" cy="479425"/>
              </a:xfrm>
              <a:custGeom>
                <a:avLst/>
                <a:gdLst>
                  <a:gd name="T0" fmla="*/ 0 w 342"/>
                  <a:gd name="T1" fmla="*/ 0 h 302"/>
                  <a:gd name="T2" fmla="*/ 0 w 342"/>
                  <a:gd name="T3" fmla="*/ 4 h 302"/>
                  <a:gd name="T4" fmla="*/ 0 w 342"/>
                  <a:gd name="T5" fmla="*/ 4 h 302"/>
                  <a:gd name="T6" fmla="*/ 6 w 342"/>
                  <a:gd name="T7" fmla="*/ 34 h 302"/>
                  <a:gd name="T8" fmla="*/ 16 w 342"/>
                  <a:gd name="T9" fmla="*/ 64 h 302"/>
                  <a:gd name="T10" fmla="*/ 28 w 342"/>
                  <a:gd name="T11" fmla="*/ 92 h 302"/>
                  <a:gd name="T12" fmla="*/ 42 w 342"/>
                  <a:gd name="T13" fmla="*/ 120 h 302"/>
                  <a:gd name="T14" fmla="*/ 58 w 342"/>
                  <a:gd name="T15" fmla="*/ 146 h 302"/>
                  <a:gd name="T16" fmla="*/ 78 w 342"/>
                  <a:gd name="T17" fmla="*/ 170 h 302"/>
                  <a:gd name="T18" fmla="*/ 98 w 342"/>
                  <a:gd name="T19" fmla="*/ 194 h 302"/>
                  <a:gd name="T20" fmla="*/ 122 w 342"/>
                  <a:gd name="T21" fmla="*/ 214 h 302"/>
                  <a:gd name="T22" fmla="*/ 146 w 342"/>
                  <a:gd name="T23" fmla="*/ 234 h 302"/>
                  <a:gd name="T24" fmla="*/ 172 w 342"/>
                  <a:gd name="T25" fmla="*/ 252 h 302"/>
                  <a:gd name="T26" fmla="*/ 198 w 342"/>
                  <a:gd name="T27" fmla="*/ 266 h 302"/>
                  <a:gd name="T28" fmla="*/ 226 w 342"/>
                  <a:gd name="T29" fmla="*/ 280 h 302"/>
                  <a:gd name="T30" fmla="*/ 254 w 342"/>
                  <a:gd name="T31" fmla="*/ 290 h 302"/>
                  <a:gd name="T32" fmla="*/ 284 w 342"/>
                  <a:gd name="T33" fmla="*/ 296 h 302"/>
                  <a:gd name="T34" fmla="*/ 312 w 342"/>
                  <a:gd name="T35" fmla="*/ 302 h 302"/>
                  <a:gd name="T36" fmla="*/ 342 w 342"/>
                  <a:gd name="T37" fmla="*/ 302 h 302"/>
                  <a:gd name="T38" fmla="*/ 342 w 342"/>
                  <a:gd name="T39" fmla="*/ 302 h 302"/>
                  <a:gd name="T40" fmla="*/ 342 w 342"/>
                  <a:gd name="T41" fmla="*/ 302 h 302"/>
                  <a:gd name="T42" fmla="*/ 342 w 342"/>
                  <a:gd name="T43" fmla="*/ 302 h 302"/>
                  <a:gd name="T44" fmla="*/ 342 w 342"/>
                  <a:gd name="T45" fmla="*/ 302 h 302"/>
                  <a:gd name="T46" fmla="*/ 342 w 342"/>
                  <a:gd name="T47" fmla="*/ 302 h 302"/>
                  <a:gd name="T48" fmla="*/ 342 w 342"/>
                  <a:gd name="T49" fmla="*/ 302 h 302"/>
                  <a:gd name="T50" fmla="*/ 342 w 342"/>
                  <a:gd name="T51" fmla="*/ 302 h 302"/>
                  <a:gd name="T52" fmla="*/ 312 w 342"/>
                  <a:gd name="T53" fmla="*/ 302 h 302"/>
                  <a:gd name="T54" fmla="*/ 284 w 342"/>
                  <a:gd name="T55" fmla="*/ 296 h 302"/>
                  <a:gd name="T56" fmla="*/ 254 w 342"/>
                  <a:gd name="T57" fmla="*/ 290 h 302"/>
                  <a:gd name="T58" fmla="*/ 226 w 342"/>
                  <a:gd name="T59" fmla="*/ 280 h 302"/>
                  <a:gd name="T60" fmla="*/ 198 w 342"/>
                  <a:gd name="T61" fmla="*/ 266 h 302"/>
                  <a:gd name="T62" fmla="*/ 172 w 342"/>
                  <a:gd name="T63" fmla="*/ 252 h 302"/>
                  <a:gd name="T64" fmla="*/ 146 w 342"/>
                  <a:gd name="T65" fmla="*/ 234 h 302"/>
                  <a:gd name="T66" fmla="*/ 122 w 342"/>
                  <a:gd name="T67" fmla="*/ 214 h 302"/>
                  <a:gd name="T68" fmla="*/ 98 w 342"/>
                  <a:gd name="T69" fmla="*/ 194 h 302"/>
                  <a:gd name="T70" fmla="*/ 78 w 342"/>
                  <a:gd name="T71" fmla="*/ 170 h 302"/>
                  <a:gd name="T72" fmla="*/ 58 w 342"/>
                  <a:gd name="T73" fmla="*/ 146 h 302"/>
                  <a:gd name="T74" fmla="*/ 42 w 342"/>
                  <a:gd name="T75" fmla="*/ 120 h 302"/>
                  <a:gd name="T76" fmla="*/ 28 w 342"/>
                  <a:gd name="T77" fmla="*/ 92 h 302"/>
                  <a:gd name="T78" fmla="*/ 16 w 342"/>
                  <a:gd name="T79" fmla="*/ 64 h 302"/>
                  <a:gd name="T80" fmla="*/ 6 w 342"/>
                  <a:gd name="T81" fmla="*/ 34 h 302"/>
                  <a:gd name="T82" fmla="*/ 0 w 342"/>
                  <a:gd name="T83" fmla="*/ 4 h 302"/>
                  <a:gd name="T84" fmla="*/ 0 w 342"/>
                  <a:gd name="T85" fmla="*/ 0 h 302"/>
                  <a:gd name="T86" fmla="*/ 0 w 342"/>
                  <a:gd name="T87" fmla="*/ 0 h 302"/>
                  <a:gd name="T88" fmla="*/ 0 w 342"/>
                  <a:gd name="T89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2" h="302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6" y="34"/>
                    </a:lnTo>
                    <a:lnTo>
                      <a:pt x="16" y="64"/>
                    </a:lnTo>
                    <a:lnTo>
                      <a:pt x="28" y="92"/>
                    </a:lnTo>
                    <a:lnTo>
                      <a:pt x="42" y="120"/>
                    </a:lnTo>
                    <a:lnTo>
                      <a:pt x="58" y="146"/>
                    </a:lnTo>
                    <a:lnTo>
                      <a:pt x="78" y="170"/>
                    </a:lnTo>
                    <a:lnTo>
                      <a:pt x="98" y="194"/>
                    </a:lnTo>
                    <a:lnTo>
                      <a:pt x="122" y="214"/>
                    </a:lnTo>
                    <a:lnTo>
                      <a:pt x="146" y="234"/>
                    </a:lnTo>
                    <a:lnTo>
                      <a:pt x="172" y="252"/>
                    </a:lnTo>
                    <a:lnTo>
                      <a:pt x="198" y="266"/>
                    </a:lnTo>
                    <a:lnTo>
                      <a:pt x="226" y="280"/>
                    </a:lnTo>
                    <a:lnTo>
                      <a:pt x="254" y="290"/>
                    </a:lnTo>
                    <a:lnTo>
                      <a:pt x="284" y="296"/>
                    </a:lnTo>
                    <a:lnTo>
                      <a:pt x="31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12" y="302"/>
                    </a:lnTo>
                    <a:lnTo>
                      <a:pt x="284" y="296"/>
                    </a:lnTo>
                    <a:lnTo>
                      <a:pt x="254" y="290"/>
                    </a:lnTo>
                    <a:lnTo>
                      <a:pt x="226" y="280"/>
                    </a:lnTo>
                    <a:lnTo>
                      <a:pt x="198" y="266"/>
                    </a:lnTo>
                    <a:lnTo>
                      <a:pt x="172" y="252"/>
                    </a:lnTo>
                    <a:lnTo>
                      <a:pt x="146" y="234"/>
                    </a:lnTo>
                    <a:lnTo>
                      <a:pt x="122" y="214"/>
                    </a:lnTo>
                    <a:lnTo>
                      <a:pt x="98" y="194"/>
                    </a:lnTo>
                    <a:lnTo>
                      <a:pt x="78" y="170"/>
                    </a:lnTo>
                    <a:lnTo>
                      <a:pt x="58" y="146"/>
                    </a:lnTo>
                    <a:lnTo>
                      <a:pt x="42" y="120"/>
                    </a:lnTo>
                    <a:lnTo>
                      <a:pt x="28" y="92"/>
                    </a:lnTo>
                    <a:lnTo>
                      <a:pt x="16" y="64"/>
                    </a:lnTo>
                    <a:lnTo>
                      <a:pt x="6" y="3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3" name="Freeform 1978">
                <a:extLst>
                  <a:ext uri="{FF2B5EF4-FFF2-40B4-BE49-F238E27FC236}">
                    <a16:creationId xmlns:a16="http://schemas.microsoft.com/office/drawing/2014/main" id="{BC7B246B-CEE7-4049-A34A-92558BE36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3776" y="1877244"/>
                <a:ext cx="542925" cy="479425"/>
              </a:xfrm>
              <a:custGeom>
                <a:avLst/>
                <a:gdLst>
                  <a:gd name="T0" fmla="*/ 0 w 342"/>
                  <a:gd name="T1" fmla="*/ 0 h 302"/>
                  <a:gd name="T2" fmla="*/ 0 w 342"/>
                  <a:gd name="T3" fmla="*/ 4 h 302"/>
                  <a:gd name="T4" fmla="*/ 0 w 342"/>
                  <a:gd name="T5" fmla="*/ 4 h 302"/>
                  <a:gd name="T6" fmla="*/ 6 w 342"/>
                  <a:gd name="T7" fmla="*/ 34 h 302"/>
                  <a:gd name="T8" fmla="*/ 16 w 342"/>
                  <a:gd name="T9" fmla="*/ 64 h 302"/>
                  <a:gd name="T10" fmla="*/ 28 w 342"/>
                  <a:gd name="T11" fmla="*/ 92 h 302"/>
                  <a:gd name="T12" fmla="*/ 42 w 342"/>
                  <a:gd name="T13" fmla="*/ 120 h 302"/>
                  <a:gd name="T14" fmla="*/ 58 w 342"/>
                  <a:gd name="T15" fmla="*/ 146 h 302"/>
                  <a:gd name="T16" fmla="*/ 78 w 342"/>
                  <a:gd name="T17" fmla="*/ 170 h 302"/>
                  <a:gd name="T18" fmla="*/ 98 w 342"/>
                  <a:gd name="T19" fmla="*/ 194 h 302"/>
                  <a:gd name="T20" fmla="*/ 122 w 342"/>
                  <a:gd name="T21" fmla="*/ 214 h 302"/>
                  <a:gd name="T22" fmla="*/ 146 w 342"/>
                  <a:gd name="T23" fmla="*/ 234 h 302"/>
                  <a:gd name="T24" fmla="*/ 172 w 342"/>
                  <a:gd name="T25" fmla="*/ 252 h 302"/>
                  <a:gd name="T26" fmla="*/ 198 w 342"/>
                  <a:gd name="T27" fmla="*/ 266 h 302"/>
                  <a:gd name="T28" fmla="*/ 226 w 342"/>
                  <a:gd name="T29" fmla="*/ 280 h 302"/>
                  <a:gd name="T30" fmla="*/ 254 w 342"/>
                  <a:gd name="T31" fmla="*/ 290 h 302"/>
                  <a:gd name="T32" fmla="*/ 284 w 342"/>
                  <a:gd name="T33" fmla="*/ 296 h 302"/>
                  <a:gd name="T34" fmla="*/ 312 w 342"/>
                  <a:gd name="T35" fmla="*/ 302 h 302"/>
                  <a:gd name="T36" fmla="*/ 342 w 342"/>
                  <a:gd name="T37" fmla="*/ 302 h 302"/>
                  <a:gd name="T38" fmla="*/ 342 w 342"/>
                  <a:gd name="T39" fmla="*/ 302 h 302"/>
                  <a:gd name="T40" fmla="*/ 342 w 342"/>
                  <a:gd name="T41" fmla="*/ 302 h 302"/>
                  <a:gd name="T42" fmla="*/ 342 w 342"/>
                  <a:gd name="T43" fmla="*/ 302 h 302"/>
                  <a:gd name="T44" fmla="*/ 342 w 342"/>
                  <a:gd name="T45" fmla="*/ 302 h 302"/>
                  <a:gd name="T46" fmla="*/ 342 w 342"/>
                  <a:gd name="T47" fmla="*/ 302 h 302"/>
                  <a:gd name="T48" fmla="*/ 342 w 342"/>
                  <a:gd name="T49" fmla="*/ 302 h 302"/>
                  <a:gd name="T50" fmla="*/ 342 w 342"/>
                  <a:gd name="T51" fmla="*/ 302 h 302"/>
                  <a:gd name="T52" fmla="*/ 312 w 342"/>
                  <a:gd name="T53" fmla="*/ 302 h 302"/>
                  <a:gd name="T54" fmla="*/ 284 w 342"/>
                  <a:gd name="T55" fmla="*/ 296 h 302"/>
                  <a:gd name="T56" fmla="*/ 254 w 342"/>
                  <a:gd name="T57" fmla="*/ 290 h 302"/>
                  <a:gd name="T58" fmla="*/ 226 w 342"/>
                  <a:gd name="T59" fmla="*/ 280 h 302"/>
                  <a:gd name="T60" fmla="*/ 198 w 342"/>
                  <a:gd name="T61" fmla="*/ 266 h 302"/>
                  <a:gd name="T62" fmla="*/ 172 w 342"/>
                  <a:gd name="T63" fmla="*/ 252 h 302"/>
                  <a:gd name="T64" fmla="*/ 146 w 342"/>
                  <a:gd name="T65" fmla="*/ 234 h 302"/>
                  <a:gd name="T66" fmla="*/ 122 w 342"/>
                  <a:gd name="T67" fmla="*/ 214 h 302"/>
                  <a:gd name="T68" fmla="*/ 98 w 342"/>
                  <a:gd name="T69" fmla="*/ 194 h 302"/>
                  <a:gd name="T70" fmla="*/ 78 w 342"/>
                  <a:gd name="T71" fmla="*/ 170 h 302"/>
                  <a:gd name="T72" fmla="*/ 58 w 342"/>
                  <a:gd name="T73" fmla="*/ 146 h 302"/>
                  <a:gd name="T74" fmla="*/ 42 w 342"/>
                  <a:gd name="T75" fmla="*/ 120 h 302"/>
                  <a:gd name="T76" fmla="*/ 28 w 342"/>
                  <a:gd name="T77" fmla="*/ 92 h 302"/>
                  <a:gd name="T78" fmla="*/ 16 w 342"/>
                  <a:gd name="T79" fmla="*/ 64 h 302"/>
                  <a:gd name="T80" fmla="*/ 6 w 342"/>
                  <a:gd name="T81" fmla="*/ 34 h 302"/>
                  <a:gd name="T82" fmla="*/ 0 w 342"/>
                  <a:gd name="T83" fmla="*/ 4 h 302"/>
                  <a:gd name="T84" fmla="*/ 0 w 342"/>
                  <a:gd name="T85" fmla="*/ 0 h 302"/>
                  <a:gd name="T86" fmla="*/ 0 w 342"/>
                  <a:gd name="T87" fmla="*/ 0 h 302"/>
                  <a:gd name="T88" fmla="*/ 0 w 342"/>
                  <a:gd name="T89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2" h="302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6" y="34"/>
                    </a:lnTo>
                    <a:lnTo>
                      <a:pt x="16" y="64"/>
                    </a:lnTo>
                    <a:lnTo>
                      <a:pt x="28" y="92"/>
                    </a:lnTo>
                    <a:lnTo>
                      <a:pt x="42" y="120"/>
                    </a:lnTo>
                    <a:lnTo>
                      <a:pt x="58" y="146"/>
                    </a:lnTo>
                    <a:lnTo>
                      <a:pt x="78" y="170"/>
                    </a:lnTo>
                    <a:lnTo>
                      <a:pt x="98" y="194"/>
                    </a:lnTo>
                    <a:lnTo>
                      <a:pt x="122" y="214"/>
                    </a:lnTo>
                    <a:lnTo>
                      <a:pt x="146" y="234"/>
                    </a:lnTo>
                    <a:lnTo>
                      <a:pt x="172" y="252"/>
                    </a:lnTo>
                    <a:lnTo>
                      <a:pt x="198" y="266"/>
                    </a:lnTo>
                    <a:lnTo>
                      <a:pt x="226" y="280"/>
                    </a:lnTo>
                    <a:lnTo>
                      <a:pt x="254" y="290"/>
                    </a:lnTo>
                    <a:lnTo>
                      <a:pt x="284" y="296"/>
                    </a:lnTo>
                    <a:lnTo>
                      <a:pt x="31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12" y="302"/>
                    </a:lnTo>
                    <a:lnTo>
                      <a:pt x="284" y="296"/>
                    </a:lnTo>
                    <a:lnTo>
                      <a:pt x="254" y="290"/>
                    </a:lnTo>
                    <a:lnTo>
                      <a:pt x="226" y="280"/>
                    </a:lnTo>
                    <a:lnTo>
                      <a:pt x="198" y="266"/>
                    </a:lnTo>
                    <a:lnTo>
                      <a:pt x="172" y="252"/>
                    </a:lnTo>
                    <a:lnTo>
                      <a:pt x="146" y="234"/>
                    </a:lnTo>
                    <a:lnTo>
                      <a:pt x="122" y="214"/>
                    </a:lnTo>
                    <a:lnTo>
                      <a:pt x="98" y="194"/>
                    </a:lnTo>
                    <a:lnTo>
                      <a:pt x="78" y="170"/>
                    </a:lnTo>
                    <a:lnTo>
                      <a:pt x="58" y="146"/>
                    </a:lnTo>
                    <a:lnTo>
                      <a:pt x="42" y="120"/>
                    </a:lnTo>
                    <a:lnTo>
                      <a:pt x="28" y="92"/>
                    </a:lnTo>
                    <a:lnTo>
                      <a:pt x="16" y="64"/>
                    </a:lnTo>
                    <a:lnTo>
                      <a:pt x="6" y="3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4" name="Freeform 1979">
                <a:extLst>
                  <a:ext uri="{FF2B5EF4-FFF2-40B4-BE49-F238E27FC236}">
                    <a16:creationId xmlns:a16="http://schemas.microsoft.com/office/drawing/2014/main" id="{D28BC435-5C36-4FF4-AB9E-8931BFD09D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50601" y="1750244"/>
                <a:ext cx="1098550" cy="606425"/>
              </a:xfrm>
              <a:custGeom>
                <a:avLst/>
                <a:gdLst>
                  <a:gd name="T0" fmla="*/ 344 w 692"/>
                  <a:gd name="T1" fmla="*/ 382 h 382"/>
                  <a:gd name="T2" fmla="*/ 346 w 692"/>
                  <a:gd name="T3" fmla="*/ 382 h 382"/>
                  <a:gd name="T4" fmla="*/ 346 w 692"/>
                  <a:gd name="T5" fmla="*/ 382 h 382"/>
                  <a:gd name="T6" fmla="*/ 348 w 692"/>
                  <a:gd name="T7" fmla="*/ 382 h 382"/>
                  <a:gd name="T8" fmla="*/ 348 w 692"/>
                  <a:gd name="T9" fmla="*/ 382 h 382"/>
                  <a:gd name="T10" fmla="*/ 348 w 692"/>
                  <a:gd name="T11" fmla="*/ 382 h 382"/>
                  <a:gd name="T12" fmla="*/ 350 w 692"/>
                  <a:gd name="T13" fmla="*/ 382 h 382"/>
                  <a:gd name="T14" fmla="*/ 350 w 692"/>
                  <a:gd name="T15" fmla="*/ 382 h 382"/>
                  <a:gd name="T16" fmla="*/ 352 w 692"/>
                  <a:gd name="T17" fmla="*/ 382 h 382"/>
                  <a:gd name="T18" fmla="*/ 352 w 692"/>
                  <a:gd name="T19" fmla="*/ 382 h 382"/>
                  <a:gd name="T20" fmla="*/ 352 w 692"/>
                  <a:gd name="T21" fmla="*/ 382 h 382"/>
                  <a:gd name="T22" fmla="*/ 352 w 692"/>
                  <a:gd name="T23" fmla="*/ 382 h 382"/>
                  <a:gd name="T24" fmla="*/ 354 w 692"/>
                  <a:gd name="T25" fmla="*/ 382 h 382"/>
                  <a:gd name="T26" fmla="*/ 354 w 692"/>
                  <a:gd name="T27" fmla="*/ 382 h 382"/>
                  <a:gd name="T28" fmla="*/ 354 w 692"/>
                  <a:gd name="T29" fmla="*/ 382 h 382"/>
                  <a:gd name="T30" fmla="*/ 356 w 692"/>
                  <a:gd name="T31" fmla="*/ 382 h 382"/>
                  <a:gd name="T32" fmla="*/ 356 w 692"/>
                  <a:gd name="T33" fmla="*/ 382 h 382"/>
                  <a:gd name="T34" fmla="*/ 358 w 692"/>
                  <a:gd name="T35" fmla="*/ 382 h 382"/>
                  <a:gd name="T36" fmla="*/ 358 w 692"/>
                  <a:gd name="T37" fmla="*/ 382 h 382"/>
                  <a:gd name="T38" fmla="*/ 358 w 692"/>
                  <a:gd name="T39" fmla="*/ 382 h 382"/>
                  <a:gd name="T40" fmla="*/ 678 w 692"/>
                  <a:gd name="T41" fmla="*/ 138 h 382"/>
                  <a:gd name="T42" fmla="*/ 620 w 692"/>
                  <a:gd name="T43" fmla="*/ 242 h 382"/>
                  <a:gd name="T44" fmla="*/ 538 w 692"/>
                  <a:gd name="T45" fmla="*/ 320 h 382"/>
                  <a:gd name="T46" fmla="*/ 438 w 692"/>
                  <a:gd name="T47" fmla="*/ 368 h 382"/>
                  <a:gd name="T48" fmla="*/ 358 w 692"/>
                  <a:gd name="T49" fmla="*/ 382 h 382"/>
                  <a:gd name="T50" fmla="*/ 470 w 692"/>
                  <a:gd name="T51" fmla="*/ 356 h 382"/>
                  <a:gd name="T52" fmla="*/ 570 w 692"/>
                  <a:gd name="T53" fmla="*/ 296 h 382"/>
                  <a:gd name="T54" fmla="*/ 646 w 692"/>
                  <a:gd name="T55" fmla="*/ 204 h 382"/>
                  <a:gd name="T56" fmla="*/ 692 w 692"/>
                  <a:gd name="T57" fmla="*/ 86 h 382"/>
                  <a:gd name="T58" fmla="*/ 690 w 692"/>
                  <a:gd name="T59" fmla="*/ 4 h 382"/>
                  <a:gd name="T60" fmla="*/ 648 w 692"/>
                  <a:gd name="T61" fmla="*/ 4 h 382"/>
                  <a:gd name="T62" fmla="*/ 624 w 692"/>
                  <a:gd name="T63" fmla="*/ 94 h 382"/>
                  <a:gd name="T64" fmla="*/ 586 w 692"/>
                  <a:gd name="T65" fmla="*/ 142 h 382"/>
                  <a:gd name="T66" fmla="*/ 538 w 692"/>
                  <a:gd name="T67" fmla="*/ 156 h 382"/>
                  <a:gd name="T68" fmla="*/ 450 w 692"/>
                  <a:gd name="T69" fmla="*/ 98 h 382"/>
                  <a:gd name="T70" fmla="*/ 338 w 692"/>
                  <a:gd name="T71" fmla="*/ 78 h 382"/>
                  <a:gd name="T72" fmla="*/ 256 w 692"/>
                  <a:gd name="T73" fmla="*/ 90 h 382"/>
                  <a:gd name="T74" fmla="*/ 166 w 692"/>
                  <a:gd name="T75" fmla="*/ 138 h 382"/>
                  <a:gd name="T76" fmla="*/ 114 w 692"/>
                  <a:gd name="T77" fmla="*/ 148 h 382"/>
                  <a:gd name="T78" fmla="*/ 70 w 692"/>
                  <a:gd name="T79" fmla="*/ 108 h 382"/>
                  <a:gd name="T80" fmla="*/ 48 w 692"/>
                  <a:gd name="T81" fmla="*/ 28 h 382"/>
                  <a:gd name="T82" fmla="*/ 0 w 692"/>
                  <a:gd name="T83" fmla="*/ 4 h 382"/>
                  <a:gd name="T84" fmla="*/ 22 w 692"/>
                  <a:gd name="T85" fmla="*/ 134 h 382"/>
                  <a:gd name="T86" fmla="*/ 90 w 692"/>
                  <a:gd name="T87" fmla="*/ 228 h 382"/>
                  <a:gd name="T88" fmla="*/ 182 w 692"/>
                  <a:gd name="T89" fmla="*/ 298 h 382"/>
                  <a:gd name="T90" fmla="*/ 288 w 692"/>
                  <a:gd name="T91" fmla="*/ 336 h 382"/>
                  <a:gd name="T92" fmla="*/ 370 w 692"/>
                  <a:gd name="T93" fmla="*/ 340 h 382"/>
                  <a:gd name="T94" fmla="*/ 482 w 692"/>
                  <a:gd name="T95" fmla="*/ 310 h 382"/>
                  <a:gd name="T96" fmla="*/ 582 w 692"/>
                  <a:gd name="T97" fmla="*/ 244 h 382"/>
                  <a:gd name="T98" fmla="*/ 658 w 692"/>
                  <a:gd name="T99" fmla="*/ 150 h 382"/>
                  <a:gd name="T100" fmla="*/ 692 w 692"/>
                  <a:gd name="T101" fmla="*/ 5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2" h="382">
                    <a:moveTo>
                      <a:pt x="344" y="382"/>
                    </a:moveTo>
                    <a:lnTo>
                      <a:pt x="344" y="382"/>
                    </a:lnTo>
                    <a:lnTo>
                      <a:pt x="344" y="382"/>
                    </a:lnTo>
                    <a:lnTo>
                      <a:pt x="344" y="382"/>
                    </a:lnTo>
                    <a:lnTo>
                      <a:pt x="344" y="382"/>
                    </a:lnTo>
                    <a:close/>
                    <a:moveTo>
                      <a:pt x="346" y="382"/>
                    </a:move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close/>
                    <a:moveTo>
                      <a:pt x="346" y="382"/>
                    </a:move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lnTo>
                      <a:pt x="346" y="382"/>
                    </a:lnTo>
                    <a:close/>
                    <a:moveTo>
                      <a:pt x="348" y="382"/>
                    </a:move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close/>
                    <a:moveTo>
                      <a:pt x="348" y="382"/>
                    </a:move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lnTo>
                      <a:pt x="348" y="382"/>
                    </a:lnTo>
                    <a:close/>
                    <a:moveTo>
                      <a:pt x="350" y="382"/>
                    </a:move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close/>
                    <a:moveTo>
                      <a:pt x="350" y="382"/>
                    </a:move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lnTo>
                      <a:pt x="350" y="382"/>
                    </a:lnTo>
                    <a:close/>
                    <a:moveTo>
                      <a:pt x="352" y="382"/>
                    </a:moveTo>
                    <a:lnTo>
                      <a:pt x="352" y="382"/>
                    </a:lnTo>
                    <a:lnTo>
                      <a:pt x="350" y="382"/>
                    </a:lnTo>
                    <a:lnTo>
                      <a:pt x="350" y="382"/>
                    </a:lnTo>
                    <a:lnTo>
                      <a:pt x="352" y="382"/>
                    </a:lnTo>
                    <a:close/>
                    <a:moveTo>
                      <a:pt x="352" y="382"/>
                    </a:moveTo>
                    <a:lnTo>
                      <a:pt x="352" y="382"/>
                    </a:lnTo>
                    <a:lnTo>
                      <a:pt x="352" y="382"/>
                    </a:lnTo>
                    <a:lnTo>
                      <a:pt x="352" y="382"/>
                    </a:lnTo>
                    <a:lnTo>
                      <a:pt x="352" y="382"/>
                    </a:lnTo>
                    <a:close/>
                    <a:moveTo>
                      <a:pt x="354" y="382"/>
                    </a:moveTo>
                    <a:lnTo>
                      <a:pt x="354" y="382"/>
                    </a:lnTo>
                    <a:lnTo>
                      <a:pt x="352" y="382"/>
                    </a:lnTo>
                    <a:lnTo>
                      <a:pt x="352" y="382"/>
                    </a:lnTo>
                    <a:lnTo>
                      <a:pt x="354" y="382"/>
                    </a:lnTo>
                    <a:close/>
                    <a:moveTo>
                      <a:pt x="354" y="382"/>
                    </a:move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close/>
                    <a:moveTo>
                      <a:pt x="354" y="382"/>
                    </a:move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lnTo>
                      <a:pt x="354" y="382"/>
                    </a:lnTo>
                    <a:close/>
                    <a:moveTo>
                      <a:pt x="356" y="382"/>
                    </a:move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close/>
                    <a:moveTo>
                      <a:pt x="356" y="382"/>
                    </a:move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lnTo>
                      <a:pt x="356" y="382"/>
                    </a:lnTo>
                    <a:close/>
                    <a:moveTo>
                      <a:pt x="358" y="382"/>
                    </a:move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close/>
                    <a:moveTo>
                      <a:pt x="358" y="382"/>
                    </a:move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lnTo>
                      <a:pt x="358" y="382"/>
                    </a:lnTo>
                    <a:close/>
                    <a:moveTo>
                      <a:pt x="692" y="68"/>
                    </a:moveTo>
                    <a:lnTo>
                      <a:pt x="686" y="110"/>
                    </a:lnTo>
                    <a:lnTo>
                      <a:pt x="686" y="110"/>
                    </a:lnTo>
                    <a:lnTo>
                      <a:pt x="678" y="138"/>
                    </a:lnTo>
                    <a:lnTo>
                      <a:pt x="666" y="166"/>
                    </a:lnTo>
                    <a:lnTo>
                      <a:pt x="652" y="194"/>
                    </a:lnTo>
                    <a:lnTo>
                      <a:pt x="638" y="218"/>
                    </a:lnTo>
                    <a:lnTo>
                      <a:pt x="620" y="242"/>
                    </a:lnTo>
                    <a:lnTo>
                      <a:pt x="602" y="264"/>
                    </a:lnTo>
                    <a:lnTo>
                      <a:pt x="582" y="284"/>
                    </a:lnTo>
                    <a:lnTo>
                      <a:pt x="560" y="302"/>
                    </a:lnTo>
                    <a:lnTo>
                      <a:pt x="538" y="320"/>
                    </a:lnTo>
                    <a:lnTo>
                      <a:pt x="514" y="334"/>
                    </a:lnTo>
                    <a:lnTo>
                      <a:pt x="490" y="348"/>
                    </a:lnTo>
                    <a:lnTo>
                      <a:pt x="464" y="360"/>
                    </a:lnTo>
                    <a:lnTo>
                      <a:pt x="438" y="368"/>
                    </a:lnTo>
                    <a:lnTo>
                      <a:pt x="412" y="376"/>
                    </a:lnTo>
                    <a:lnTo>
                      <a:pt x="386" y="380"/>
                    </a:lnTo>
                    <a:lnTo>
                      <a:pt x="358" y="382"/>
                    </a:lnTo>
                    <a:lnTo>
                      <a:pt x="358" y="382"/>
                    </a:lnTo>
                    <a:lnTo>
                      <a:pt x="388" y="380"/>
                    </a:lnTo>
                    <a:lnTo>
                      <a:pt x="416" y="374"/>
                    </a:lnTo>
                    <a:lnTo>
                      <a:pt x="442" y="366"/>
                    </a:lnTo>
                    <a:lnTo>
                      <a:pt x="470" y="356"/>
                    </a:lnTo>
                    <a:lnTo>
                      <a:pt x="496" y="344"/>
                    </a:lnTo>
                    <a:lnTo>
                      <a:pt x="522" y="330"/>
                    </a:lnTo>
                    <a:lnTo>
                      <a:pt x="546" y="314"/>
                    </a:lnTo>
                    <a:lnTo>
                      <a:pt x="570" y="296"/>
                    </a:lnTo>
                    <a:lnTo>
                      <a:pt x="592" y="274"/>
                    </a:lnTo>
                    <a:lnTo>
                      <a:pt x="612" y="252"/>
                    </a:lnTo>
                    <a:lnTo>
                      <a:pt x="630" y="228"/>
                    </a:lnTo>
                    <a:lnTo>
                      <a:pt x="646" y="204"/>
                    </a:lnTo>
                    <a:lnTo>
                      <a:pt x="662" y="176"/>
                    </a:lnTo>
                    <a:lnTo>
                      <a:pt x="674" y="146"/>
                    </a:lnTo>
                    <a:lnTo>
                      <a:pt x="684" y="116"/>
                    </a:lnTo>
                    <a:lnTo>
                      <a:pt x="692" y="86"/>
                    </a:lnTo>
                    <a:lnTo>
                      <a:pt x="692" y="68"/>
                    </a:lnTo>
                    <a:close/>
                    <a:moveTo>
                      <a:pt x="692" y="0"/>
                    </a:moveTo>
                    <a:lnTo>
                      <a:pt x="692" y="0"/>
                    </a:lnTo>
                    <a:lnTo>
                      <a:pt x="690" y="4"/>
                    </a:lnTo>
                    <a:lnTo>
                      <a:pt x="690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6" y="28"/>
                    </a:lnTo>
                    <a:lnTo>
                      <a:pt x="640" y="52"/>
                    </a:lnTo>
                    <a:lnTo>
                      <a:pt x="630" y="80"/>
                    </a:lnTo>
                    <a:lnTo>
                      <a:pt x="624" y="94"/>
                    </a:lnTo>
                    <a:lnTo>
                      <a:pt x="618" y="108"/>
                    </a:lnTo>
                    <a:lnTo>
                      <a:pt x="608" y="120"/>
                    </a:lnTo>
                    <a:lnTo>
                      <a:pt x="598" y="132"/>
                    </a:lnTo>
                    <a:lnTo>
                      <a:pt x="586" y="142"/>
                    </a:lnTo>
                    <a:lnTo>
                      <a:pt x="572" y="148"/>
                    </a:lnTo>
                    <a:lnTo>
                      <a:pt x="556" y="154"/>
                    </a:lnTo>
                    <a:lnTo>
                      <a:pt x="538" y="156"/>
                    </a:lnTo>
                    <a:lnTo>
                      <a:pt x="538" y="156"/>
                    </a:lnTo>
                    <a:lnTo>
                      <a:pt x="520" y="138"/>
                    </a:lnTo>
                    <a:lnTo>
                      <a:pt x="500" y="122"/>
                    </a:lnTo>
                    <a:lnTo>
                      <a:pt x="476" y="108"/>
                    </a:lnTo>
                    <a:lnTo>
                      <a:pt x="450" y="98"/>
                    </a:lnTo>
                    <a:lnTo>
                      <a:pt x="424" y="90"/>
                    </a:lnTo>
                    <a:lnTo>
                      <a:pt x="396" y="84"/>
                    </a:lnTo>
                    <a:lnTo>
                      <a:pt x="368" y="80"/>
                    </a:lnTo>
                    <a:lnTo>
                      <a:pt x="338" y="78"/>
                    </a:lnTo>
                    <a:lnTo>
                      <a:pt x="338" y="78"/>
                    </a:lnTo>
                    <a:lnTo>
                      <a:pt x="310" y="80"/>
                    </a:lnTo>
                    <a:lnTo>
                      <a:pt x="282" y="84"/>
                    </a:lnTo>
                    <a:lnTo>
                      <a:pt x="256" y="90"/>
                    </a:lnTo>
                    <a:lnTo>
                      <a:pt x="230" y="98"/>
                    </a:lnTo>
                    <a:lnTo>
                      <a:pt x="206" y="108"/>
                    </a:lnTo>
                    <a:lnTo>
                      <a:pt x="184" y="122"/>
                    </a:lnTo>
                    <a:lnTo>
                      <a:pt x="166" y="138"/>
                    </a:lnTo>
                    <a:lnTo>
                      <a:pt x="152" y="154"/>
                    </a:lnTo>
                    <a:lnTo>
                      <a:pt x="152" y="154"/>
                    </a:lnTo>
                    <a:lnTo>
                      <a:pt x="132" y="154"/>
                    </a:lnTo>
                    <a:lnTo>
                      <a:pt x="114" y="148"/>
                    </a:lnTo>
                    <a:lnTo>
                      <a:pt x="100" y="140"/>
                    </a:lnTo>
                    <a:lnTo>
                      <a:pt x="88" y="132"/>
                    </a:lnTo>
                    <a:lnTo>
                      <a:pt x="78" y="120"/>
                    </a:lnTo>
                    <a:lnTo>
                      <a:pt x="70" y="108"/>
                    </a:lnTo>
                    <a:lnTo>
                      <a:pt x="62" y="94"/>
                    </a:lnTo>
                    <a:lnTo>
                      <a:pt x="58" y="80"/>
                    </a:lnTo>
                    <a:lnTo>
                      <a:pt x="50" y="52"/>
                    </a:lnTo>
                    <a:lnTo>
                      <a:pt x="48" y="2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0" y="4"/>
                    </a:lnTo>
                    <a:lnTo>
                      <a:pt x="2" y="80"/>
                    </a:lnTo>
                    <a:lnTo>
                      <a:pt x="2" y="80"/>
                    </a:lnTo>
                    <a:lnTo>
                      <a:pt x="10" y="108"/>
                    </a:lnTo>
                    <a:lnTo>
                      <a:pt x="22" y="134"/>
                    </a:lnTo>
                    <a:lnTo>
                      <a:pt x="36" y="158"/>
                    </a:lnTo>
                    <a:lnTo>
                      <a:pt x="52" y="182"/>
                    </a:lnTo>
                    <a:lnTo>
                      <a:pt x="70" y="206"/>
                    </a:lnTo>
                    <a:lnTo>
                      <a:pt x="90" y="228"/>
                    </a:lnTo>
                    <a:lnTo>
                      <a:pt x="110" y="248"/>
                    </a:lnTo>
                    <a:lnTo>
                      <a:pt x="132" y="266"/>
                    </a:lnTo>
                    <a:lnTo>
                      <a:pt x="156" y="282"/>
                    </a:lnTo>
                    <a:lnTo>
                      <a:pt x="182" y="298"/>
                    </a:lnTo>
                    <a:lnTo>
                      <a:pt x="206" y="310"/>
                    </a:lnTo>
                    <a:lnTo>
                      <a:pt x="234" y="320"/>
                    </a:lnTo>
                    <a:lnTo>
                      <a:pt x="260" y="330"/>
                    </a:lnTo>
                    <a:lnTo>
                      <a:pt x="288" y="336"/>
                    </a:lnTo>
                    <a:lnTo>
                      <a:pt x="314" y="340"/>
                    </a:lnTo>
                    <a:lnTo>
                      <a:pt x="342" y="342"/>
                    </a:lnTo>
                    <a:lnTo>
                      <a:pt x="342" y="342"/>
                    </a:lnTo>
                    <a:lnTo>
                      <a:pt x="370" y="340"/>
                    </a:lnTo>
                    <a:lnTo>
                      <a:pt x="398" y="336"/>
                    </a:lnTo>
                    <a:lnTo>
                      <a:pt x="426" y="330"/>
                    </a:lnTo>
                    <a:lnTo>
                      <a:pt x="454" y="320"/>
                    </a:lnTo>
                    <a:lnTo>
                      <a:pt x="482" y="310"/>
                    </a:lnTo>
                    <a:lnTo>
                      <a:pt x="508" y="296"/>
                    </a:lnTo>
                    <a:lnTo>
                      <a:pt x="534" y="282"/>
                    </a:lnTo>
                    <a:lnTo>
                      <a:pt x="560" y="264"/>
                    </a:lnTo>
                    <a:lnTo>
                      <a:pt x="582" y="244"/>
                    </a:lnTo>
                    <a:lnTo>
                      <a:pt x="604" y="224"/>
                    </a:lnTo>
                    <a:lnTo>
                      <a:pt x="624" y="200"/>
                    </a:lnTo>
                    <a:lnTo>
                      <a:pt x="642" y="176"/>
                    </a:lnTo>
                    <a:lnTo>
                      <a:pt x="658" y="150"/>
                    </a:lnTo>
                    <a:lnTo>
                      <a:pt x="672" y="122"/>
                    </a:lnTo>
                    <a:lnTo>
                      <a:pt x="684" y="92"/>
                    </a:lnTo>
                    <a:lnTo>
                      <a:pt x="692" y="62"/>
                    </a:lnTo>
                    <a:lnTo>
                      <a:pt x="692" y="50"/>
                    </a:lnTo>
                    <a:lnTo>
                      <a:pt x="692" y="34"/>
                    </a:lnTo>
                    <a:lnTo>
                      <a:pt x="692" y="0"/>
                    </a:lnTo>
                    <a:close/>
                  </a:path>
                </a:pathLst>
              </a:custGeom>
              <a:solidFill>
                <a:srgbClr val="B17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5" name="Rectangle 1980">
                <a:extLst>
                  <a:ext uri="{FF2B5EF4-FFF2-40B4-BE49-F238E27FC236}">
                    <a16:creationId xmlns:a16="http://schemas.microsoft.com/office/drawing/2014/main" id="{9050F273-4210-4BCE-B046-B02932891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7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6" name="Rectangle 1981">
                <a:extLst>
                  <a:ext uri="{FF2B5EF4-FFF2-40B4-BE49-F238E27FC236}">
                    <a16:creationId xmlns:a16="http://schemas.microsoft.com/office/drawing/2014/main" id="{56080227-C42E-45EA-9D66-993D65401C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7" name="Rectangle 1982">
                <a:extLst>
                  <a:ext uri="{FF2B5EF4-FFF2-40B4-BE49-F238E27FC236}">
                    <a16:creationId xmlns:a16="http://schemas.microsoft.com/office/drawing/2014/main" id="{20CBFD2A-9EDE-48DC-ABA9-B25FDB4F5A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98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8" name="Rectangle 1983">
                <a:extLst>
                  <a:ext uri="{FF2B5EF4-FFF2-40B4-BE49-F238E27FC236}">
                    <a16:creationId xmlns:a16="http://schemas.microsoft.com/office/drawing/2014/main" id="{2C427FAB-85EC-4275-A05F-4DEC41A7E8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9" name="Rectangle 1984">
                <a:extLst>
                  <a:ext uri="{FF2B5EF4-FFF2-40B4-BE49-F238E27FC236}">
                    <a16:creationId xmlns:a16="http://schemas.microsoft.com/office/drawing/2014/main" id="{F7710FAB-931B-46A4-8802-5473DCB54B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30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0" name="Rectangle 1985">
                <a:extLst>
                  <a:ext uri="{FF2B5EF4-FFF2-40B4-BE49-F238E27FC236}">
                    <a16:creationId xmlns:a16="http://schemas.microsoft.com/office/drawing/2014/main" id="{232F3C55-1B6D-41E2-8361-1ED0EEF239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1" name="Rectangle 1986">
                <a:extLst>
                  <a:ext uri="{FF2B5EF4-FFF2-40B4-BE49-F238E27FC236}">
                    <a16:creationId xmlns:a16="http://schemas.microsoft.com/office/drawing/2014/main" id="{C4D8D48D-05B6-482D-A826-C6E8F59D12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2" name="Rectangle 1987">
                <a:extLst>
                  <a:ext uri="{FF2B5EF4-FFF2-40B4-BE49-F238E27FC236}">
                    <a16:creationId xmlns:a16="http://schemas.microsoft.com/office/drawing/2014/main" id="{DA796573-15BE-4C50-9778-C4AD644AD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6226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3" name="Rectangle 1988">
                <a:extLst>
                  <a:ext uri="{FF2B5EF4-FFF2-40B4-BE49-F238E27FC236}">
                    <a16:creationId xmlns:a16="http://schemas.microsoft.com/office/drawing/2014/main" id="{59C4A602-8396-4D15-A094-0E8B3C9D41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4" name="Rectangle 1989">
                <a:extLst>
                  <a:ext uri="{FF2B5EF4-FFF2-40B4-BE49-F238E27FC236}">
                    <a16:creationId xmlns:a16="http://schemas.microsoft.com/office/drawing/2014/main" id="{F4FE0AE6-B9AB-44A3-A466-620564D70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9401" y="2356669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5" name="Rectangle 1990">
                <a:extLst>
                  <a:ext uri="{FF2B5EF4-FFF2-40B4-BE49-F238E27FC236}">
                    <a16:creationId xmlns:a16="http://schemas.microsoft.com/office/drawing/2014/main" id="{76CA9E34-0937-4A2D-BFCF-3F7E297EFD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6" name="Rectangle 1991">
                <a:extLst>
                  <a:ext uri="{FF2B5EF4-FFF2-40B4-BE49-F238E27FC236}">
                    <a16:creationId xmlns:a16="http://schemas.microsoft.com/office/drawing/2014/main" id="{72C6BEB8-AD82-4C57-8B5E-CD37CFF8CF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257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7" name="Rectangle 1992">
                <a:extLst>
                  <a:ext uri="{FF2B5EF4-FFF2-40B4-BE49-F238E27FC236}">
                    <a16:creationId xmlns:a16="http://schemas.microsoft.com/office/drawing/2014/main" id="{94E291B3-4773-4A26-8D43-094429906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8" name="Rectangle 1993">
                <a:extLst>
                  <a:ext uri="{FF2B5EF4-FFF2-40B4-BE49-F238E27FC236}">
                    <a16:creationId xmlns:a16="http://schemas.microsoft.com/office/drawing/2014/main" id="{13ED7660-E361-42FA-A907-117A67F066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5751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9" name="Rectangle 1994">
                <a:extLst>
                  <a:ext uri="{FF2B5EF4-FFF2-40B4-BE49-F238E27FC236}">
                    <a16:creationId xmlns:a16="http://schemas.microsoft.com/office/drawing/2014/main" id="{C88DA0C8-5870-45FF-9FDD-90869BB96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0" name="Rectangle 1995">
                <a:extLst>
                  <a:ext uri="{FF2B5EF4-FFF2-40B4-BE49-F238E27FC236}">
                    <a16:creationId xmlns:a16="http://schemas.microsoft.com/office/drawing/2014/main" id="{01B480F8-17E8-4968-8DE4-223DE9553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18926" y="2356669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1" name="Freeform 1996">
                <a:extLst>
                  <a:ext uri="{FF2B5EF4-FFF2-40B4-BE49-F238E27FC236}">
                    <a16:creationId xmlns:a16="http://schemas.microsoft.com/office/drawing/2014/main" id="{BD449137-28B7-447B-AF60-C46702B35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18926" y="1858194"/>
                <a:ext cx="530225" cy="498475"/>
              </a:xfrm>
              <a:custGeom>
                <a:avLst/>
                <a:gdLst>
                  <a:gd name="T0" fmla="*/ 334 w 334"/>
                  <a:gd name="T1" fmla="*/ 0 h 314"/>
                  <a:gd name="T2" fmla="*/ 328 w 334"/>
                  <a:gd name="T3" fmla="*/ 42 h 314"/>
                  <a:gd name="T4" fmla="*/ 328 w 334"/>
                  <a:gd name="T5" fmla="*/ 42 h 314"/>
                  <a:gd name="T6" fmla="*/ 320 w 334"/>
                  <a:gd name="T7" fmla="*/ 70 h 314"/>
                  <a:gd name="T8" fmla="*/ 308 w 334"/>
                  <a:gd name="T9" fmla="*/ 98 h 314"/>
                  <a:gd name="T10" fmla="*/ 294 w 334"/>
                  <a:gd name="T11" fmla="*/ 126 h 314"/>
                  <a:gd name="T12" fmla="*/ 280 w 334"/>
                  <a:gd name="T13" fmla="*/ 150 h 314"/>
                  <a:gd name="T14" fmla="*/ 262 w 334"/>
                  <a:gd name="T15" fmla="*/ 174 h 314"/>
                  <a:gd name="T16" fmla="*/ 244 w 334"/>
                  <a:gd name="T17" fmla="*/ 196 h 314"/>
                  <a:gd name="T18" fmla="*/ 224 w 334"/>
                  <a:gd name="T19" fmla="*/ 216 h 314"/>
                  <a:gd name="T20" fmla="*/ 202 w 334"/>
                  <a:gd name="T21" fmla="*/ 234 h 314"/>
                  <a:gd name="T22" fmla="*/ 180 w 334"/>
                  <a:gd name="T23" fmla="*/ 252 h 314"/>
                  <a:gd name="T24" fmla="*/ 156 w 334"/>
                  <a:gd name="T25" fmla="*/ 266 h 314"/>
                  <a:gd name="T26" fmla="*/ 132 w 334"/>
                  <a:gd name="T27" fmla="*/ 280 h 314"/>
                  <a:gd name="T28" fmla="*/ 106 w 334"/>
                  <a:gd name="T29" fmla="*/ 292 h 314"/>
                  <a:gd name="T30" fmla="*/ 80 w 334"/>
                  <a:gd name="T31" fmla="*/ 300 h 314"/>
                  <a:gd name="T32" fmla="*/ 54 w 334"/>
                  <a:gd name="T33" fmla="*/ 308 h 314"/>
                  <a:gd name="T34" fmla="*/ 28 w 334"/>
                  <a:gd name="T35" fmla="*/ 312 h 314"/>
                  <a:gd name="T36" fmla="*/ 0 w 334"/>
                  <a:gd name="T37" fmla="*/ 314 h 314"/>
                  <a:gd name="T38" fmla="*/ 0 w 334"/>
                  <a:gd name="T39" fmla="*/ 314 h 314"/>
                  <a:gd name="T40" fmla="*/ 30 w 334"/>
                  <a:gd name="T41" fmla="*/ 312 h 314"/>
                  <a:gd name="T42" fmla="*/ 58 w 334"/>
                  <a:gd name="T43" fmla="*/ 306 h 314"/>
                  <a:gd name="T44" fmla="*/ 84 w 334"/>
                  <a:gd name="T45" fmla="*/ 298 h 314"/>
                  <a:gd name="T46" fmla="*/ 112 w 334"/>
                  <a:gd name="T47" fmla="*/ 288 h 314"/>
                  <a:gd name="T48" fmla="*/ 138 w 334"/>
                  <a:gd name="T49" fmla="*/ 276 h 314"/>
                  <a:gd name="T50" fmla="*/ 164 w 334"/>
                  <a:gd name="T51" fmla="*/ 262 h 314"/>
                  <a:gd name="T52" fmla="*/ 188 w 334"/>
                  <a:gd name="T53" fmla="*/ 246 h 314"/>
                  <a:gd name="T54" fmla="*/ 212 w 334"/>
                  <a:gd name="T55" fmla="*/ 228 h 314"/>
                  <a:gd name="T56" fmla="*/ 234 w 334"/>
                  <a:gd name="T57" fmla="*/ 206 h 314"/>
                  <a:gd name="T58" fmla="*/ 254 w 334"/>
                  <a:gd name="T59" fmla="*/ 184 h 314"/>
                  <a:gd name="T60" fmla="*/ 272 w 334"/>
                  <a:gd name="T61" fmla="*/ 160 h 314"/>
                  <a:gd name="T62" fmla="*/ 288 w 334"/>
                  <a:gd name="T63" fmla="*/ 136 h 314"/>
                  <a:gd name="T64" fmla="*/ 304 w 334"/>
                  <a:gd name="T65" fmla="*/ 108 h 314"/>
                  <a:gd name="T66" fmla="*/ 316 w 334"/>
                  <a:gd name="T67" fmla="*/ 78 h 314"/>
                  <a:gd name="T68" fmla="*/ 326 w 334"/>
                  <a:gd name="T69" fmla="*/ 48 h 314"/>
                  <a:gd name="T70" fmla="*/ 334 w 334"/>
                  <a:gd name="T71" fmla="*/ 18 h 314"/>
                  <a:gd name="T72" fmla="*/ 334 w 334"/>
                  <a:gd name="T73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4" h="314">
                    <a:moveTo>
                      <a:pt x="334" y="0"/>
                    </a:moveTo>
                    <a:lnTo>
                      <a:pt x="328" y="42"/>
                    </a:lnTo>
                    <a:lnTo>
                      <a:pt x="328" y="42"/>
                    </a:lnTo>
                    <a:lnTo>
                      <a:pt x="320" y="70"/>
                    </a:lnTo>
                    <a:lnTo>
                      <a:pt x="308" y="98"/>
                    </a:lnTo>
                    <a:lnTo>
                      <a:pt x="294" y="126"/>
                    </a:lnTo>
                    <a:lnTo>
                      <a:pt x="280" y="150"/>
                    </a:lnTo>
                    <a:lnTo>
                      <a:pt x="262" y="174"/>
                    </a:lnTo>
                    <a:lnTo>
                      <a:pt x="244" y="196"/>
                    </a:lnTo>
                    <a:lnTo>
                      <a:pt x="224" y="216"/>
                    </a:lnTo>
                    <a:lnTo>
                      <a:pt x="202" y="234"/>
                    </a:lnTo>
                    <a:lnTo>
                      <a:pt x="180" y="252"/>
                    </a:lnTo>
                    <a:lnTo>
                      <a:pt x="156" y="266"/>
                    </a:lnTo>
                    <a:lnTo>
                      <a:pt x="132" y="280"/>
                    </a:lnTo>
                    <a:lnTo>
                      <a:pt x="106" y="292"/>
                    </a:lnTo>
                    <a:lnTo>
                      <a:pt x="80" y="300"/>
                    </a:lnTo>
                    <a:lnTo>
                      <a:pt x="54" y="308"/>
                    </a:lnTo>
                    <a:lnTo>
                      <a:pt x="28" y="312"/>
                    </a:lnTo>
                    <a:lnTo>
                      <a:pt x="0" y="314"/>
                    </a:lnTo>
                    <a:lnTo>
                      <a:pt x="0" y="314"/>
                    </a:lnTo>
                    <a:lnTo>
                      <a:pt x="30" y="312"/>
                    </a:lnTo>
                    <a:lnTo>
                      <a:pt x="58" y="306"/>
                    </a:lnTo>
                    <a:lnTo>
                      <a:pt x="84" y="298"/>
                    </a:lnTo>
                    <a:lnTo>
                      <a:pt x="112" y="288"/>
                    </a:lnTo>
                    <a:lnTo>
                      <a:pt x="138" y="276"/>
                    </a:lnTo>
                    <a:lnTo>
                      <a:pt x="164" y="262"/>
                    </a:lnTo>
                    <a:lnTo>
                      <a:pt x="188" y="246"/>
                    </a:lnTo>
                    <a:lnTo>
                      <a:pt x="212" y="228"/>
                    </a:lnTo>
                    <a:lnTo>
                      <a:pt x="234" y="206"/>
                    </a:lnTo>
                    <a:lnTo>
                      <a:pt x="254" y="184"/>
                    </a:lnTo>
                    <a:lnTo>
                      <a:pt x="272" y="160"/>
                    </a:lnTo>
                    <a:lnTo>
                      <a:pt x="288" y="136"/>
                    </a:lnTo>
                    <a:lnTo>
                      <a:pt x="304" y="108"/>
                    </a:lnTo>
                    <a:lnTo>
                      <a:pt x="316" y="78"/>
                    </a:lnTo>
                    <a:lnTo>
                      <a:pt x="326" y="48"/>
                    </a:lnTo>
                    <a:lnTo>
                      <a:pt x="334" y="18"/>
                    </a:lnTo>
                    <a:lnTo>
                      <a:pt x="33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2" name="Freeform 1997">
                <a:extLst>
                  <a:ext uri="{FF2B5EF4-FFF2-40B4-BE49-F238E27FC236}">
                    <a16:creationId xmlns:a16="http://schemas.microsoft.com/office/drawing/2014/main" id="{368F1AFA-8559-4FB0-B048-59BA4D3BC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0601" y="1750244"/>
                <a:ext cx="1098550" cy="542925"/>
              </a:xfrm>
              <a:custGeom>
                <a:avLst/>
                <a:gdLst>
                  <a:gd name="T0" fmla="*/ 692 w 692"/>
                  <a:gd name="T1" fmla="*/ 0 h 342"/>
                  <a:gd name="T2" fmla="*/ 690 w 692"/>
                  <a:gd name="T3" fmla="*/ 4 h 342"/>
                  <a:gd name="T4" fmla="*/ 648 w 692"/>
                  <a:gd name="T5" fmla="*/ 4 h 342"/>
                  <a:gd name="T6" fmla="*/ 646 w 692"/>
                  <a:gd name="T7" fmla="*/ 28 h 342"/>
                  <a:gd name="T8" fmla="*/ 630 w 692"/>
                  <a:gd name="T9" fmla="*/ 80 h 342"/>
                  <a:gd name="T10" fmla="*/ 618 w 692"/>
                  <a:gd name="T11" fmla="*/ 108 h 342"/>
                  <a:gd name="T12" fmla="*/ 598 w 692"/>
                  <a:gd name="T13" fmla="*/ 132 h 342"/>
                  <a:gd name="T14" fmla="*/ 572 w 692"/>
                  <a:gd name="T15" fmla="*/ 148 h 342"/>
                  <a:gd name="T16" fmla="*/ 538 w 692"/>
                  <a:gd name="T17" fmla="*/ 156 h 342"/>
                  <a:gd name="T18" fmla="*/ 520 w 692"/>
                  <a:gd name="T19" fmla="*/ 138 h 342"/>
                  <a:gd name="T20" fmla="*/ 476 w 692"/>
                  <a:gd name="T21" fmla="*/ 108 h 342"/>
                  <a:gd name="T22" fmla="*/ 424 w 692"/>
                  <a:gd name="T23" fmla="*/ 90 h 342"/>
                  <a:gd name="T24" fmla="*/ 368 w 692"/>
                  <a:gd name="T25" fmla="*/ 80 h 342"/>
                  <a:gd name="T26" fmla="*/ 338 w 692"/>
                  <a:gd name="T27" fmla="*/ 78 h 342"/>
                  <a:gd name="T28" fmla="*/ 282 w 692"/>
                  <a:gd name="T29" fmla="*/ 84 h 342"/>
                  <a:gd name="T30" fmla="*/ 230 w 692"/>
                  <a:gd name="T31" fmla="*/ 98 h 342"/>
                  <a:gd name="T32" fmla="*/ 184 w 692"/>
                  <a:gd name="T33" fmla="*/ 122 h 342"/>
                  <a:gd name="T34" fmla="*/ 152 w 692"/>
                  <a:gd name="T35" fmla="*/ 154 h 342"/>
                  <a:gd name="T36" fmla="*/ 132 w 692"/>
                  <a:gd name="T37" fmla="*/ 154 h 342"/>
                  <a:gd name="T38" fmla="*/ 100 w 692"/>
                  <a:gd name="T39" fmla="*/ 140 h 342"/>
                  <a:gd name="T40" fmla="*/ 78 w 692"/>
                  <a:gd name="T41" fmla="*/ 120 h 342"/>
                  <a:gd name="T42" fmla="*/ 62 w 692"/>
                  <a:gd name="T43" fmla="*/ 94 h 342"/>
                  <a:gd name="T44" fmla="*/ 50 w 692"/>
                  <a:gd name="T45" fmla="*/ 52 h 342"/>
                  <a:gd name="T46" fmla="*/ 46 w 692"/>
                  <a:gd name="T47" fmla="*/ 4 h 342"/>
                  <a:gd name="T48" fmla="*/ 46 w 692"/>
                  <a:gd name="T49" fmla="*/ 4 h 342"/>
                  <a:gd name="T50" fmla="*/ 2 w 692"/>
                  <a:gd name="T51" fmla="*/ 80 h 342"/>
                  <a:gd name="T52" fmla="*/ 10 w 692"/>
                  <a:gd name="T53" fmla="*/ 108 h 342"/>
                  <a:gd name="T54" fmla="*/ 36 w 692"/>
                  <a:gd name="T55" fmla="*/ 158 h 342"/>
                  <a:gd name="T56" fmla="*/ 70 w 692"/>
                  <a:gd name="T57" fmla="*/ 206 h 342"/>
                  <a:gd name="T58" fmla="*/ 110 w 692"/>
                  <a:gd name="T59" fmla="*/ 248 h 342"/>
                  <a:gd name="T60" fmla="*/ 156 w 692"/>
                  <a:gd name="T61" fmla="*/ 282 h 342"/>
                  <a:gd name="T62" fmla="*/ 206 w 692"/>
                  <a:gd name="T63" fmla="*/ 310 h 342"/>
                  <a:gd name="T64" fmla="*/ 260 w 692"/>
                  <a:gd name="T65" fmla="*/ 330 h 342"/>
                  <a:gd name="T66" fmla="*/ 314 w 692"/>
                  <a:gd name="T67" fmla="*/ 340 h 342"/>
                  <a:gd name="T68" fmla="*/ 342 w 692"/>
                  <a:gd name="T69" fmla="*/ 342 h 342"/>
                  <a:gd name="T70" fmla="*/ 398 w 692"/>
                  <a:gd name="T71" fmla="*/ 336 h 342"/>
                  <a:gd name="T72" fmla="*/ 454 w 692"/>
                  <a:gd name="T73" fmla="*/ 320 h 342"/>
                  <a:gd name="T74" fmla="*/ 508 w 692"/>
                  <a:gd name="T75" fmla="*/ 296 h 342"/>
                  <a:gd name="T76" fmla="*/ 560 w 692"/>
                  <a:gd name="T77" fmla="*/ 264 h 342"/>
                  <a:gd name="T78" fmla="*/ 604 w 692"/>
                  <a:gd name="T79" fmla="*/ 224 h 342"/>
                  <a:gd name="T80" fmla="*/ 642 w 692"/>
                  <a:gd name="T81" fmla="*/ 176 h 342"/>
                  <a:gd name="T82" fmla="*/ 672 w 692"/>
                  <a:gd name="T83" fmla="*/ 122 h 342"/>
                  <a:gd name="T84" fmla="*/ 692 w 692"/>
                  <a:gd name="T85" fmla="*/ 62 h 342"/>
                  <a:gd name="T86" fmla="*/ 692 w 692"/>
                  <a:gd name="T87" fmla="*/ 34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92" h="342">
                    <a:moveTo>
                      <a:pt x="692" y="0"/>
                    </a:moveTo>
                    <a:lnTo>
                      <a:pt x="692" y="0"/>
                    </a:lnTo>
                    <a:lnTo>
                      <a:pt x="690" y="4"/>
                    </a:lnTo>
                    <a:lnTo>
                      <a:pt x="690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8" y="4"/>
                    </a:lnTo>
                    <a:lnTo>
                      <a:pt x="646" y="28"/>
                    </a:lnTo>
                    <a:lnTo>
                      <a:pt x="640" y="52"/>
                    </a:lnTo>
                    <a:lnTo>
                      <a:pt x="630" y="80"/>
                    </a:lnTo>
                    <a:lnTo>
                      <a:pt x="624" y="94"/>
                    </a:lnTo>
                    <a:lnTo>
                      <a:pt x="618" y="108"/>
                    </a:lnTo>
                    <a:lnTo>
                      <a:pt x="608" y="120"/>
                    </a:lnTo>
                    <a:lnTo>
                      <a:pt x="598" y="132"/>
                    </a:lnTo>
                    <a:lnTo>
                      <a:pt x="586" y="142"/>
                    </a:lnTo>
                    <a:lnTo>
                      <a:pt x="572" y="148"/>
                    </a:lnTo>
                    <a:lnTo>
                      <a:pt x="556" y="154"/>
                    </a:lnTo>
                    <a:lnTo>
                      <a:pt x="538" y="156"/>
                    </a:lnTo>
                    <a:lnTo>
                      <a:pt x="538" y="156"/>
                    </a:lnTo>
                    <a:lnTo>
                      <a:pt x="520" y="138"/>
                    </a:lnTo>
                    <a:lnTo>
                      <a:pt x="500" y="122"/>
                    </a:lnTo>
                    <a:lnTo>
                      <a:pt x="476" y="108"/>
                    </a:lnTo>
                    <a:lnTo>
                      <a:pt x="450" y="98"/>
                    </a:lnTo>
                    <a:lnTo>
                      <a:pt x="424" y="90"/>
                    </a:lnTo>
                    <a:lnTo>
                      <a:pt x="396" y="84"/>
                    </a:lnTo>
                    <a:lnTo>
                      <a:pt x="368" y="80"/>
                    </a:lnTo>
                    <a:lnTo>
                      <a:pt x="338" y="78"/>
                    </a:lnTo>
                    <a:lnTo>
                      <a:pt x="338" y="78"/>
                    </a:lnTo>
                    <a:lnTo>
                      <a:pt x="310" y="80"/>
                    </a:lnTo>
                    <a:lnTo>
                      <a:pt x="282" y="84"/>
                    </a:lnTo>
                    <a:lnTo>
                      <a:pt x="256" y="90"/>
                    </a:lnTo>
                    <a:lnTo>
                      <a:pt x="230" y="98"/>
                    </a:lnTo>
                    <a:lnTo>
                      <a:pt x="206" y="108"/>
                    </a:lnTo>
                    <a:lnTo>
                      <a:pt x="184" y="122"/>
                    </a:lnTo>
                    <a:lnTo>
                      <a:pt x="166" y="138"/>
                    </a:lnTo>
                    <a:lnTo>
                      <a:pt x="152" y="154"/>
                    </a:lnTo>
                    <a:lnTo>
                      <a:pt x="152" y="154"/>
                    </a:lnTo>
                    <a:lnTo>
                      <a:pt x="132" y="154"/>
                    </a:lnTo>
                    <a:lnTo>
                      <a:pt x="114" y="148"/>
                    </a:lnTo>
                    <a:lnTo>
                      <a:pt x="100" y="140"/>
                    </a:lnTo>
                    <a:lnTo>
                      <a:pt x="88" y="132"/>
                    </a:lnTo>
                    <a:lnTo>
                      <a:pt x="78" y="120"/>
                    </a:lnTo>
                    <a:lnTo>
                      <a:pt x="70" y="108"/>
                    </a:lnTo>
                    <a:lnTo>
                      <a:pt x="62" y="94"/>
                    </a:lnTo>
                    <a:lnTo>
                      <a:pt x="58" y="80"/>
                    </a:lnTo>
                    <a:lnTo>
                      <a:pt x="50" y="52"/>
                    </a:lnTo>
                    <a:lnTo>
                      <a:pt x="48" y="2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0" y="4"/>
                    </a:lnTo>
                    <a:lnTo>
                      <a:pt x="2" y="80"/>
                    </a:lnTo>
                    <a:lnTo>
                      <a:pt x="2" y="80"/>
                    </a:lnTo>
                    <a:lnTo>
                      <a:pt x="10" y="108"/>
                    </a:lnTo>
                    <a:lnTo>
                      <a:pt x="22" y="134"/>
                    </a:lnTo>
                    <a:lnTo>
                      <a:pt x="36" y="158"/>
                    </a:lnTo>
                    <a:lnTo>
                      <a:pt x="52" y="182"/>
                    </a:lnTo>
                    <a:lnTo>
                      <a:pt x="70" y="206"/>
                    </a:lnTo>
                    <a:lnTo>
                      <a:pt x="90" y="228"/>
                    </a:lnTo>
                    <a:lnTo>
                      <a:pt x="110" y="248"/>
                    </a:lnTo>
                    <a:lnTo>
                      <a:pt x="132" y="266"/>
                    </a:lnTo>
                    <a:lnTo>
                      <a:pt x="156" y="282"/>
                    </a:lnTo>
                    <a:lnTo>
                      <a:pt x="182" y="298"/>
                    </a:lnTo>
                    <a:lnTo>
                      <a:pt x="206" y="310"/>
                    </a:lnTo>
                    <a:lnTo>
                      <a:pt x="234" y="320"/>
                    </a:lnTo>
                    <a:lnTo>
                      <a:pt x="260" y="330"/>
                    </a:lnTo>
                    <a:lnTo>
                      <a:pt x="288" y="336"/>
                    </a:lnTo>
                    <a:lnTo>
                      <a:pt x="314" y="340"/>
                    </a:lnTo>
                    <a:lnTo>
                      <a:pt x="342" y="342"/>
                    </a:lnTo>
                    <a:lnTo>
                      <a:pt x="342" y="342"/>
                    </a:lnTo>
                    <a:lnTo>
                      <a:pt x="370" y="340"/>
                    </a:lnTo>
                    <a:lnTo>
                      <a:pt x="398" y="336"/>
                    </a:lnTo>
                    <a:lnTo>
                      <a:pt x="426" y="330"/>
                    </a:lnTo>
                    <a:lnTo>
                      <a:pt x="454" y="320"/>
                    </a:lnTo>
                    <a:lnTo>
                      <a:pt x="482" y="310"/>
                    </a:lnTo>
                    <a:lnTo>
                      <a:pt x="508" y="296"/>
                    </a:lnTo>
                    <a:lnTo>
                      <a:pt x="534" y="282"/>
                    </a:lnTo>
                    <a:lnTo>
                      <a:pt x="560" y="264"/>
                    </a:lnTo>
                    <a:lnTo>
                      <a:pt x="582" y="244"/>
                    </a:lnTo>
                    <a:lnTo>
                      <a:pt x="604" y="224"/>
                    </a:lnTo>
                    <a:lnTo>
                      <a:pt x="624" y="200"/>
                    </a:lnTo>
                    <a:lnTo>
                      <a:pt x="642" y="176"/>
                    </a:lnTo>
                    <a:lnTo>
                      <a:pt x="658" y="150"/>
                    </a:lnTo>
                    <a:lnTo>
                      <a:pt x="672" y="122"/>
                    </a:lnTo>
                    <a:lnTo>
                      <a:pt x="684" y="92"/>
                    </a:lnTo>
                    <a:lnTo>
                      <a:pt x="692" y="62"/>
                    </a:lnTo>
                    <a:lnTo>
                      <a:pt x="692" y="50"/>
                    </a:lnTo>
                    <a:lnTo>
                      <a:pt x="692" y="34"/>
                    </a:lnTo>
                    <a:lnTo>
                      <a:pt x="69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3" name="Freeform 1998">
                <a:extLst>
                  <a:ext uri="{FF2B5EF4-FFF2-40B4-BE49-F238E27FC236}">
                    <a16:creationId xmlns:a16="http://schemas.microsoft.com/office/drawing/2014/main" id="{02E4FA76-D2F8-46E8-9034-DFBECC387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3776" y="1848669"/>
                <a:ext cx="1095375" cy="508000"/>
              </a:xfrm>
              <a:custGeom>
                <a:avLst/>
                <a:gdLst>
                  <a:gd name="T0" fmla="*/ 682 w 690"/>
                  <a:gd name="T1" fmla="*/ 30 h 320"/>
                  <a:gd name="T2" fmla="*/ 640 w 690"/>
                  <a:gd name="T3" fmla="*/ 114 h 320"/>
                  <a:gd name="T4" fmla="*/ 580 w 690"/>
                  <a:gd name="T5" fmla="*/ 182 h 320"/>
                  <a:gd name="T6" fmla="*/ 506 w 690"/>
                  <a:gd name="T7" fmla="*/ 234 h 320"/>
                  <a:gd name="T8" fmla="*/ 424 w 690"/>
                  <a:gd name="T9" fmla="*/ 268 h 320"/>
                  <a:gd name="T10" fmla="*/ 340 w 690"/>
                  <a:gd name="T11" fmla="*/ 280 h 320"/>
                  <a:gd name="T12" fmla="*/ 286 w 690"/>
                  <a:gd name="T13" fmla="*/ 274 h 320"/>
                  <a:gd name="T14" fmla="*/ 204 w 690"/>
                  <a:gd name="T15" fmla="*/ 248 h 320"/>
                  <a:gd name="T16" fmla="*/ 130 w 690"/>
                  <a:gd name="T17" fmla="*/ 204 h 320"/>
                  <a:gd name="T18" fmla="*/ 68 w 690"/>
                  <a:gd name="T19" fmla="*/ 144 h 320"/>
                  <a:gd name="T20" fmla="*/ 20 w 690"/>
                  <a:gd name="T21" fmla="*/ 72 h 320"/>
                  <a:gd name="T22" fmla="*/ 0 w 690"/>
                  <a:gd name="T23" fmla="*/ 22 h 320"/>
                  <a:gd name="T24" fmla="*/ 16 w 690"/>
                  <a:gd name="T25" fmla="*/ 82 h 320"/>
                  <a:gd name="T26" fmla="*/ 58 w 690"/>
                  <a:gd name="T27" fmla="*/ 164 h 320"/>
                  <a:gd name="T28" fmla="*/ 122 w 690"/>
                  <a:gd name="T29" fmla="*/ 232 h 320"/>
                  <a:gd name="T30" fmla="*/ 198 w 690"/>
                  <a:gd name="T31" fmla="*/ 284 h 320"/>
                  <a:gd name="T32" fmla="*/ 284 w 690"/>
                  <a:gd name="T33" fmla="*/ 314 h 320"/>
                  <a:gd name="T34" fmla="*/ 342 w 690"/>
                  <a:gd name="T35" fmla="*/ 320 h 320"/>
                  <a:gd name="T36" fmla="*/ 342 w 690"/>
                  <a:gd name="T37" fmla="*/ 320 h 320"/>
                  <a:gd name="T38" fmla="*/ 344 w 690"/>
                  <a:gd name="T39" fmla="*/ 320 h 320"/>
                  <a:gd name="T40" fmla="*/ 344 w 690"/>
                  <a:gd name="T41" fmla="*/ 320 h 320"/>
                  <a:gd name="T42" fmla="*/ 344 w 690"/>
                  <a:gd name="T43" fmla="*/ 320 h 320"/>
                  <a:gd name="T44" fmla="*/ 346 w 690"/>
                  <a:gd name="T45" fmla="*/ 320 h 320"/>
                  <a:gd name="T46" fmla="*/ 346 w 690"/>
                  <a:gd name="T47" fmla="*/ 320 h 320"/>
                  <a:gd name="T48" fmla="*/ 348 w 690"/>
                  <a:gd name="T49" fmla="*/ 320 h 320"/>
                  <a:gd name="T50" fmla="*/ 348 w 690"/>
                  <a:gd name="T51" fmla="*/ 320 h 320"/>
                  <a:gd name="T52" fmla="*/ 348 w 690"/>
                  <a:gd name="T53" fmla="*/ 320 h 320"/>
                  <a:gd name="T54" fmla="*/ 348 w 690"/>
                  <a:gd name="T55" fmla="*/ 320 h 320"/>
                  <a:gd name="T56" fmla="*/ 350 w 690"/>
                  <a:gd name="T57" fmla="*/ 320 h 320"/>
                  <a:gd name="T58" fmla="*/ 350 w 690"/>
                  <a:gd name="T59" fmla="*/ 320 h 320"/>
                  <a:gd name="T60" fmla="*/ 352 w 690"/>
                  <a:gd name="T61" fmla="*/ 320 h 320"/>
                  <a:gd name="T62" fmla="*/ 352 w 690"/>
                  <a:gd name="T63" fmla="*/ 320 h 320"/>
                  <a:gd name="T64" fmla="*/ 352 w 690"/>
                  <a:gd name="T65" fmla="*/ 320 h 320"/>
                  <a:gd name="T66" fmla="*/ 352 w 690"/>
                  <a:gd name="T67" fmla="*/ 320 h 320"/>
                  <a:gd name="T68" fmla="*/ 354 w 690"/>
                  <a:gd name="T69" fmla="*/ 320 h 320"/>
                  <a:gd name="T70" fmla="*/ 354 w 690"/>
                  <a:gd name="T71" fmla="*/ 320 h 320"/>
                  <a:gd name="T72" fmla="*/ 356 w 690"/>
                  <a:gd name="T73" fmla="*/ 320 h 320"/>
                  <a:gd name="T74" fmla="*/ 356 w 690"/>
                  <a:gd name="T75" fmla="*/ 320 h 320"/>
                  <a:gd name="T76" fmla="*/ 356 w 690"/>
                  <a:gd name="T77" fmla="*/ 320 h 320"/>
                  <a:gd name="T78" fmla="*/ 356 w 690"/>
                  <a:gd name="T79" fmla="*/ 320 h 320"/>
                  <a:gd name="T80" fmla="*/ 436 w 690"/>
                  <a:gd name="T81" fmla="*/ 306 h 320"/>
                  <a:gd name="T82" fmla="*/ 512 w 690"/>
                  <a:gd name="T83" fmla="*/ 272 h 320"/>
                  <a:gd name="T84" fmla="*/ 580 w 690"/>
                  <a:gd name="T85" fmla="*/ 222 h 320"/>
                  <a:gd name="T86" fmla="*/ 636 w 690"/>
                  <a:gd name="T87" fmla="*/ 156 h 320"/>
                  <a:gd name="T88" fmla="*/ 676 w 690"/>
                  <a:gd name="T89" fmla="*/ 76 h 320"/>
                  <a:gd name="T90" fmla="*/ 690 w 690"/>
                  <a:gd name="T9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90" h="320">
                    <a:moveTo>
                      <a:pt x="690" y="0"/>
                    </a:moveTo>
                    <a:lnTo>
                      <a:pt x="690" y="0"/>
                    </a:lnTo>
                    <a:lnTo>
                      <a:pt x="682" y="30"/>
                    </a:lnTo>
                    <a:lnTo>
                      <a:pt x="670" y="60"/>
                    </a:lnTo>
                    <a:lnTo>
                      <a:pt x="656" y="88"/>
                    </a:lnTo>
                    <a:lnTo>
                      <a:pt x="640" y="114"/>
                    </a:lnTo>
                    <a:lnTo>
                      <a:pt x="622" y="138"/>
                    </a:lnTo>
                    <a:lnTo>
                      <a:pt x="602" y="162"/>
                    </a:lnTo>
                    <a:lnTo>
                      <a:pt x="580" y="182"/>
                    </a:lnTo>
                    <a:lnTo>
                      <a:pt x="558" y="202"/>
                    </a:lnTo>
                    <a:lnTo>
                      <a:pt x="532" y="220"/>
                    </a:lnTo>
                    <a:lnTo>
                      <a:pt x="506" y="234"/>
                    </a:lnTo>
                    <a:lnTo>
                      <a:pt x="480" y="248"/>
                    </a:lnTo>
                    <a:lnTo>
                      <a:pt x="452" y="258"/>
                    </a:lnTo>
                    <a:lnTo>
                      <a:pt x="424" y="268"/>
                    </a:lnTo>
                    <a:lnTo>
                      <a:pt x="396" y="274"/>
                    </a:lnTo>
                    <a:lnTo>
                      <a:pt x="368" y="278"/>
                    </a:lnTo>
                    <a:lnTo>
                      <a:pt x="340" y="280"/>
                    </a:lnTo>
                    <a:lnTo>
                      <a:pt x="340" y="280"/>
                    </a:lnTo>
                    <a:lnTo>
                      <a:pt x="312" y="278"/>
                    </a:lnTo>
                    <a:lnTo>
                      <a:pt x="286" y="274"/>
                    </a:lnTo>
                    <a:lnTo>
                      <a:pt x="258" y="268"/>
                    </a:lnTo>
                    <a:lnTo>
                      <a:pt x="232" y="258"/>
                    </a:lnTo>
                    <a:lnTo>
                      <a:pt x="204" y="248"/>
                    </a:lnTo>
                    <a:lnTo>
                      <a:pt x="180" y="236"/>
                    </a:lnTo>
                    <a:lnTo>
                      <a:pt x="154" y="220"/>
                    </a:lnTo>
                    <a:lnTo>
                      <a:pt x="130" y="204"/>
                    </a:lnTo>
                    <a:lnTo>
                      <a:pt x="108" y="186"/>
                    </a:lnTo>
                    <a:lnTo>
                      <a:pt x="88" y="166"/>
                    </a:lnTo>
                    <a:lnTo>
                      <a:pt x="68" y="144"/>
                    </a:lnTo>
                    <a:lnTo>
                      <a:pt x="50" y="120"/>
                    </a:lnTo>
                    <a:lnTo>
                      <a:pt x="34" y="96"/>
                    </a:lnTo>
                    <a:lnTo>
                      <a:pt x="20" y="72"/>
                    </a:lnTo>
                    <a:lnTo>
                      <a:pt x="8" y="4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6" y="52"/>
                    </a:lnTo>
                    <a:lnTo>
                      <a:pt x="16" y="82"/>
                    </a:lnTo>
                    <a:lnTo>
                      <a:pt x="28" y="110"/>
                    </a:lnTo>
                    <a:lnTo>
                      <a:pt x="42" y="138"/>
                    </a:lnTo>
                    <a:lnTo>
                      <a:pt x="58" y="164"/>
                    </a:lnTo>
                    <a:lnTo>
                      <a:pt x="78" y="188"/>
                    </a:lnTo>
                    <a:lnTo>
                      <a:pt x="98" y="212"/>
                    </a:lnTo>
                    <a:lnTo>
                      <a:pt x="122" y="232"/>
                    </a:lnTo>
                    <a:lnTo>
                      <a:pt x="146" y="252"/>
                    </a:lnTo>
                    <a:lnTo>
                      <a:pt x="172" y="270"/>
                    </a:lnTo>
                    <a:lnTo>
                      <a:pt x="198" y="284"/>
                    </a:lnTo>
                    <a:lnTo>
                      <a:pt x="226" y="298"/>
                    </a:lnTo>
                    <a:lnTo>
                      <a:pt x="254" y="308"/>
                    </a:lnTo>
                    <a:lnTo>
                      <a:pt x="284" y="314"/>
                    </a:lnTo>
                    <a:lnTo>
                      <a:pt x="31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84" y="318"/>
                    </a:lnTo>
                    <a:lnTo>
                      <a:pt x="410" y="314"/>
                    </a:lnTo>
                    <a:lnTo>
                      <a:pt x="436" y="306"/>
                    </a:lnTo>
                    <a:lnTo>
                      <a:pt x="462" y="298"/>
                    </a:lnTo>
                    <a:lnTo>
                      <a:pt x="488" y="286"/>
                    </a:lnTo>
                    <a:lnTo>
                      <a:pt x="512" y="272"/>
                    </a:lnTo>
                    <a:lnTo>
                      <a:pt x="536" y="258"/>
                    </a:lnTo>
                    <a:lnTo>
                      <a:pt x="558" y="240"/>
                    </a:lnTo>
                    <a:lnTo>
                      <a:pt x="580" y="222"/>
                    </a:lnTo>
                    <a:lnTo>
                      <a:pt x="600" y="202"/>
                    </a:lnTo>
                    <a:lnTo>
                      <a:pt x="618" y="180"/>
                    </a:lnTo>
                    <a:lnTo>
                      <a:pt x="636" y="156"/>
                    </a:lnTo>
                    <a:lnTo>
                      <a:pt x="650" y="132"/>
                    </a:lnTo>
                    <a:lnTo>
                      <a:pt x="664" y="104"/>
                    </a:lnTo>
                    <a:lnTo>
                      <a:pt x="676" y="76"/>
                    </a:lnTo>
                    <a:lnTo>
                      <a:pt x="684" y="48"/>
                    </a:lnTo>
                    <a:lnTo>
                      <a:pt x="690" y="6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9B6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4" name="Freeform 1999">
                <a:extLst>
                  <a:ext uri="{FF2B5EF4-FFF2-40B4-BE49-F238E27FC236}">
                    <a16:creationId xmlns:a16="http://schemas.microsoft.com/office/drawing/2014/main" id="{D2CAC2E8-99AE-4D19-9BE6-38C76DA1D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3776" y="1848669"/>
                <a:ext cx="1095375" cy="508000"/>
              </a:xfrm>
              <a:custGeom>
                <a:avLst/>
                <a:gdLst>
                  <a:gd name="T0" fmla="*/ 682 w 690"/>
                  <a:gd name="T1" fmla="*/ 30 h 320"/>
                  <a:gd name="T2" fmla="*/ 640 w 690"/>
                  <a:gd name="T3" fmla="*/ 114 h 320"/>
                  <a:gd name="T4" fmla="*/ 580 w 690"/>
                  <a:gd name="T5" fmla="*/ 182 h 320"/>
                  <a:gd name="T6" fmla="*/ 506 w 690"/>
                  <a:gd name="T7" fmla="*/ 234 h 320"/>
                  <a:gd name="T8" fmla="*/ 424 w 690"/>
                  <a:gd name="T9" fmla="*/ 268 h 320"/>
                  <a:gd name="T10" fmla="*/ 340 w 690"/>
                  <a:gd name="T11" fmla="*/ 280 h 320"/>
                  <a:gd name="T12" fmla="*/ 286 w 690"/>
                  <a:gd name="T13" fmla="*/ 274 h 320"/>
                  <a:gd name="T14" fmla="*/ 204 w 690"/>
                  <a:gd name="T15" fmla="*/ 248 h 320"/>
                  <a:gd name="T16" fmla="*/ 130 w 690"/>
                  <a:gd name="T17" fmla="*/ 204 h 320"/>
                  <a:gd name="T18" fmla="*/ 68 w 690"/>
                  <a:gd name="T19" fmla="*/ 144 h 320"/>
                  <a:gd name="T20" fmla="*/ 20 w 690"/>
                  <a:gd name="T21" fmla="*/ 72 h 320"/>
                  <a:gd name="T22" fmla="*/ 0 w 690"/>
                  <a:gd name="T23" fmla="*/ 22 h 320"/>
                  <a:gd name="T24" fmla="*/ 16 w 690"/>
                  <a:gd name="T25" fmla="*/ 82 h 320"/>
                  <a:gd name="T26" fmla="*/ 58 w 690"/>
                  <a:gd name="T27" fmla="*/ 164 h 320"/>
                  <a:gd name="T28" fmla="*/ 122 w 690"/>
                  <a:gd name="T29" fmla="*/ 232 h 320"/>
                  <a:gd name="T30" fmla="*/ 198 w 690"/>
                  <a:gd name="T31" fmla="*/ 284 h 320"/>
                  <a:gd name="T32" fmla="*/ 284 w 690"/>
                  <a:gd name="T33" fmla="*/ 314 h 320"/>
                  <a:gd name="T34" fmla="*/ 342 w 690"/>
                  <a:gd name="T35" fmla="*/ 320 h 320"/>
                  <a:gd name="T36" fmla="*/ 342 w 690"/>
                  <a:gd name="T37" fmla="*/ 320 h 320"/>
                  <a:gd name="T38" fmla="*/ 344 w 690"/>
                  <a:gd name="T39" fmla="*/ 320 h 320"/>
                  <a:gd name="T40" fmla="*/ 344 w 690"/>
                  <a:gd name="T41" fmla="*/ 320 h 320"/>
                  <a:gd name="T42" fmla="*/ 344 w 690"/>
                  <a:gd name="T43" fmla="*/ 320 h 320"/>
                  <a:gd name="T44" fmla="*/ 346 w 690"/>
                  <a:gd name="T45" fmla="*/ 320 h 320"/>
                  <a:gd name="T46" fmla="*/ 346 w 690"/>
                  <a:gd name="T47" fmla="*/ 320 h 320"/>
                  <a:gd name="T48" fmla="*/ 348 w 690"/>
                  <a:gd name="T49" fmla="*/ 320 h 320"/>
                  <a:gd name="T50" fmla="*/ 348 w 690"/>
                  <a:gd name="T51" fmla="*/ 320 h 320"/>
                  <a:gd name="T52" fmla="*/ 348 w 690"/>
                  <a:gd name="T53" fmla="*/ 320 h 320"/>
                  <a:gd name="T54" fmla="*/ 348 w 690"/>
                  <a:gd name="T55" fmla="*/ 320 h 320"/>
                  <a:gd name="T56" fmla="*/ 350 w 690"/>
                  <a:gd name="T57" fmla="*/ 320 h 320"/>
                  <a:gd name="T58" fmla="*/ 350 w 690"/>
                  <a:gd name="T59" fmla="*/ 320 h 320"/>
                  <a:gd name="T60" fmla="*/ 352 w 690"/>
                  <a:gd name="T61" fmla="*/ 320 h 320"/>
                  <a:gd name="T62" fmla="*/ 352 w 690"/>
                  <a:gd name="T63" fmla="*/ 320 h 320"/>
                  <a:gd name="T64" fmla="*/ 352 w 690"/>
                  <a:gd name="T65" fmla="*/ 320 h 320"/>
                  <a:gd name="T66" fmla="*/ 352 w 690"/>
                  <a:gd name="T67" fmla="*/ 320 h 320"/>
                  <a:gd name="T68" fmla="*/ 354 w 690"/>
                  <a:gd name="T69" fmla="*/ 320 h 320"/>
                  <a:gd name="T70" fmla="*/ 354 w 690"/>
                  <a:gd name="T71" fmla="*/ 320 h 320"/>
                  <a:gd name="T72" fmla="*/ 356 w 690"/>
                  <a:gd name="T73" fmla="*/ 320 h 320"/>
                  <a:gd name="T74" fmla="*/ 356 w 690"/>
                  <a:gd name="T75" fmla="*/ 320 h 320"/>
                  <a:gd name="T76" fmla="*/ 356 w 690"/>
                  <a:gd name="T77" fmla="*/ 320 h 320"/>
                  <a:gd name="T78" fmla="*/ 356 w 690"/>
                  <a:gd name="T79" fmla="*/ 320 h 320"/>
                  <a:gd name="T80" fmla="*/ 436 w 690"/>
                  <a:gd name="T81" fmla="*/ 306 h 320"/>
                  <a:gd name="T82" fmla="*/ 512 w 690"/>
                  <a:gd name="T83" fmla="*/ 272 h 320"/>
                  <a:gd name="T84" fmla="*/ 580 w 690"/>
                  <a:gd name="T85" fmla="*/ 222 h 320"/>
                  <a:gd name="T86" fmla="*/ 636 w 690"/>
                  <a:gd name="T87" fmla="*/ 156 h 320"/>
                  <a:gd name="T88" fmla="*/ 676 w 690"/>
                  <a:gd name="T89" fmla="*/ 76 h 320"/>
                  <a:gd name="T90" fmla="*/ 690 w 690"/>
                  <a:gd name="T9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90" h="320">
                    <a:moveTo>
                      <a:pt x="690" y="0"/>
                    </a:moveTo>
                    <a:lnTo>
                      <a:pt x="690" y="0"/>
                    </a:lnTo>
                    <a:lnTo>
                      <a:pt x="682" y="30"/>
                    </a:lnTo>
                    <a:lnTo>
                      <a:pt x="670" y="60"/>
                    </a:lnTo>
                    <a:lnTo>
                      <a:pt x="656" y="88"/>
                    </a:lnTo>
                    <a:lnTo>
                      <a:pt x="640" y="114"/>
                    </a:lnTo>
                    <a:lnTo>
                      <a:pt x="622" y="138"/>
                    </a:lnTo>
                    <a:lnTo>
                      <a:pt x="602" y="162"/>
                    </a:lnTo>
                    <a:lnTo>
                      <a:pt x="580" y="182"/>
                    </a:lnTo>
                    <a:lnTo>
                      <a:pt x="558" y="202"/>
                    </a:lnTo>
                    <a:lnTo>
                      <a:pt x="532" y="220"/>
                    </a:lnTo>
                    <a:lnTo>
                      <a:pt x="506" y="234"/>
                    </a:lnTo>
                    <a:lnTo>
                      <a:pt x="480" y="248"/>
                    </a:lnTo>
                    <a:lnTo>
                      <a:pt x="452" y="258"/>
                    </a:lnTo>
                    <a:lnTo>
                      <a:pt x="424" y="268"/>
                    </a:lnTo>
                    <a:lnTo>
                      <a:pt x="396" y="274"/>
                    </a:lnTo>
                    <a:lnTo>
                      <a:pt x="368" y="278"/>
                    </a:lnTo>
                    <a:lnTo>
                      <a:pt x="340" y="280"/>
                    </a:lnTo>
                    <a:lnTo>
                      <a:pt x="340" y="280"/>
                    </a:lnTo>
                    <a:lnTo>
                      <a:pt x="312" y="278"/>
                    </a:lnTo>
                    <a:lnTo>
                      <a:pt x="286" y="274"/>
                    </a:lnTo>
                    <a:lnTo>
                      <a:pt x="258" y="268"/>
                    </a:lnTo>
                    <a:lnTo>
                      <a:pt x="232" y="258"/>
                    </a:lnTo>
                    <a:lnTo>
                      <a:pt x="204" y="248"/>
                    </a:lnTo>
                    <a:lnTo>
                      <a:pt x="180" y="236"/>
                    </a:lnTo>
                    <a:lnTo>
                      <a:pt x="154" y="220"/>
                    </a:lnTo>
                    <a:lnTo>
                      <a:pt x="130" y="204"/>
                    </a:lnTo>
                    <a:lnTo>
                      <a:pt x="108" y="186"/>
                    </a:lnTo>
                    <a:lnTo>
                      <a:pt x="88" y="166"/>
                    </a:lnTo>
                    <a:lnTo>
                      <a:pt x="68" y="144"/>
                    </a:lnTo>
                    <a:lnTo>
                      <a:pt x="50" y="120"/>
                    </a:lnTo>
                    <a:lnTo>
                      <a:pt x="34" y="96"/>
                    </a:lnTo>
                    <a:lnTo>
                      <a:pt x="20" y="72"/>
                    </a:lnTo>
                    <a:lnTo>
                      <a:pt x="8" y="4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6" y="52"/>
                    </a:lnTo>
                    <a:lnTo>
                      <a:pt x="16" y="82"/>
                    </a:lnTo>
                    <a:lnTo>
                      <a:pt x="28" y="110"/>
                    </a:lnTo>
                    <a:lnTo>
                      <a:pt x="42" y="138"/>
                    </a:lnTo>
                    <a:lnTo>
                      <a:pt x="58" y="164"/>
                    </a:lnTo>
                    <a:lnTo>
                      <a:pt x="78" y="188"/>
                    </a:lnTo>
                    <a:lnTo>
                      <a:pt x="98" y="212"/>
                    </a:lnTo>
                    <a:lnTo>
                      <a:pt x="122" y="232"/>
                    </a:lnTo>
                    <a:lnTo>
                      <a:pt x="146" y="252"/>
                    </a:lnTo>
                    <a:lnTo>
                      <a:pt x="172" y="270"/>
                    </a:lnTo>
                    <a:lnTo>
                      <a:pt x="198" y="284"/>
                    </a:lnTo>
                    <a:lnTo>
                      <a:pt x="226" y="298"/>
                    </a:lnTo>
                    <a:lnTo>
                      <a:pt x="254" y="308"/>
                    </a:lnTo>
                    <a:lnTo>
                      <a:pt x="284" y="314"/>
                    </a:lnTo>
                    <a:lnTo>
                      <a:pt x="31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2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4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6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48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2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56" y="320"/>
                    </a:lnTo>
                    <a:lnTo>
                      <a:pt x="384" y="318"/>
                    </a:lnTo>
                    <a:lnTo>
                      <a:pt x="410" y="314"/>
                    </a:lnTo>
                    <a:lnTo>
                      <a:pt x="436" y="306"/>
                    </a:lnTo>
                    <a:lnTo>
                      <a:pt x="462" y="298"/>
                    </a:lnTo>
                    <a:lnTo>
                      <a:pt x="488" y="286"/>
                    </a:lnTo>
                    <a:lnTo>
                      <a:pt x="512" y="272"/>
                    </a:lnTo>
                    <a:lnTo>
                      <a:pt x="536" y="258"/>
                    </a:lnTo>
                    <a:lnTo>
                      <a:pt x="558" y="240"/>
                    </a:lnTo>
                    <a:lnTo>
                      <a:pt x="580" y="222"/>
                    </a:lnTo>
                    <a:lnTo>
                      <a:pt x="600" y="202"/>
                    </a:lnTo>
                    <a:lnTo>
                      <a:pt x="618" y="180"/>
                    </a:lnTo>
                    <a:lnTo>
                      <a:pt x="636" y="156"/>
                    </a:lnTo>
                    <a:lnTo>
                      <a:pt x="650" y="132"/>
                    </a:lnTo>
                    <a:lnTo>
                      <a:pt x="664" y="104"/>
                    </a:lnTo>
                    <a:lnTo>
                      <a:pt x="676" y="76"/>
                    </a:lnTo>
                    <a:lnTo>
                      <a:pt x="684" y="48"/>
                    </a:lnTo>
                    <a:lnTo>
                      <a:pt x="690" y="6"/>
                    </a:lnTo>
                    <a:lnTo>
                      <a:pt x="69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5" name="Freeform 2000">
                <a:extLst>
                  <a:ext uri="{FF2B5EF4-FFF2-40B4-BE49-F238E27FC236}">
                    <a16:creationId xmlns:a16="http://schemas.microsoft.com/office/drawing/2014/main" id="{2E5D5432-C00D-4FD9-B683-71A62B64B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85551" y="1699444"/>
                <a:ext cx="76200" cy="73025"/>
              </a:xfrm>
              <a:custGeom>
                <a:avLst/>
                <a:gdLst>
                  <a:gd name="T0" fmla="*/ 0 w 48"/>
                  <a:gd name="T1" fmla="*/ 22 h 46"/>
                  <a:gd name="T2" fmla="*/ 0 w 48"/>
                  <a:gd name="T3" fmla="*/ 22 h 46"/>
                  <a:gd name="T4" fmla="*/ 2 w 48"/>
                  <a:gd name="T5" fmla="*/ 32 h 46"/>
                  <a:gd name="T6" fmla="*/ 8 w 48"/>
                  <a:gd name="T7" fmla="*/ 40 h 46"/>
                  <a:gd name="T8" fmla="*/ 14 w 48"/>
                  <a:gd name="T9" fmla="*/ 44 h 46"/>
                  <a:gd name="T10" fmla="*/ 24 w 48"/>
                  <a:gd name="T11" fmla="*/ 46 h 46"/>
                  <a:gd name="T12" fmla="*/ 24 w 48"/>
                  <a:gd name="T13" fmla="*/ 46 h 46"/>
                  <a:gd name="T14" fmla="*/ 34 w 48"/>
                  <a:gd name="T15" fmla="*/ 44 h 46"/>
                  <a:gd name="T16" fmla="*/ 40 w 48"/>
                  <a:gd name="T17" fmla="*/ 40 h 46"/>
                  <a:gd name="T18" fmla="*/ 46 w 48"/>
                  <a:gd name="T19" fmla="*/ 32 h 46"/>
                  <a:gd name="T20" fmla="*/ 48 w 48"/>
                  <a:gd name="T21" fmla="*/ 22 h 46"/>
                  <a:gd name="T22" fmla="*/ 48 w 48"/>
                  <a:gd name="T23" fmla="*/ 22 h 46"/>
                  <a:gd name="T24" fmla="*/ 46 w 48"/>
                  <a:gd name="T25" fmla="*/ 14 h 46"/>
                  <a:gd name="T26" fmla="*/ 40 w 48"/>
                  <a:gd name="T27" fmla="*/ 6 h 46"/>
                  <a:gd name="T28" fmla="*/ 34 w 48"/>
                  <a:gd name="T29" fmla="*/ 0 h 46"/>
                  <a:gd name="T30" fmla="*/ 24 w 48"/>
                  <a:gd name="T31" fmla="*/ 0 h 46"/>
                  <a:gd name="T32" fmla="*/ 24 w 48"/>
                  <a:gd name="T33" fmla="*/ 0 h 46"/>
                  <a:gd name="T34" fmla="*/ 14 w 48"/>
                  <a:gd name="T35" fmla="*/ 0 h 46"/>
                  <a:gd name="T36" fmla="*/ 8 w 48"/>
                  <a:gd name="T37" fmla="*/ 6 h 46"/>
                  <a:gd name="T38" fmla="*/ 2 w 48"/>
                  <a:gd name="T39" fmla="*/ 14 h 46"/>
                  <a:gd name="T40" fmla="*/ 0 w 48"/>
                  <a:gd name="T41" fmla="*/ 22 h 46"/>
                  <a:gd name="T42" fmla="*/ 0 w 48"/>
                  <a:gd name="T43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8" h="46">
                    <a:moveTo>
                      <a:pt x="0" y="22"/>
                    </a:moveTo>
                    <a:lnTo>
                      <a:pt x="0" y="22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4" y="44"/>
                    </a:lnTo>
                    <a:lnTo>
                      <a:pt x="40" y="40"/>
                    </a:lnTo>
                    <a:lnTo>
                      <a:pt x="46" y="3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6" y="14"/>
                    </a:lnTo>
                    <a:lnTo>
                      <a:pt x="40" y="6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6" name="Freeform 2001">
                <a:extLst>
                  <a:ext uri="{FF2B5EF4-FFF2-40B4-BE49-F238E27FC236}">
                    <a16:creationId xmlns:a16="http://schemas.microsoft.com/office/drawing/2014/main" id="{FBA17BF9-F62F-49CE-A334-631532DC0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34826" y="1699444"/>
                <a:ext cx="73025" cy="73025"/>
              </a:xfrm>
              <a:custGeom>
                <a:avLst/>
                <a:gdLst>
                  <a:gd name="T0" fmla="*/ 0 w 46"/>
                  <a:gd name="T1" fmla="*/ 22 h 46"/>
                  <a:gd name="T2" fmla="*/ 0 w 46"/>
                  <a:gd name="T3" fmla="*/ 22 h 46"/>
                  <a:gd name="T4" fmla="*/ 2 w 46"/>
                  <a:gd name="T5" fmla="*/ 32 h 46"/>
                  <a:gd name="T6" fmla="*/ 6 w 46"/>
                  <a:gd name="T7" fmla="*/ 40 h 46"/>
                  <a:gd name="T8" fmla="*/ 14 w 46"/>
                  <a:gd name="T9" fmla="*/ 44 h 46"/>
                  <a:gd name="T10" fmla="*/ 24 w 46"/>
                  <a:gd name="T11" fmla="*/ 46 h 46"/>
                  <a:gd name="T12" fmla="*/ 24 w 46"/>
                  <a:gd name="T13" fmla="*/ 46 h 46"/>
                  <a:gd name="T14" fmla="*/ 32 w 46"/>
                  <a:gd name="T15" fmla="*/ 44 h 46"/>
                  <a:gd name="T16" fmla="*/ 40 w 46"/>
                  <a:gd name="T17" fmla="*/ 40 h 46"/>
                  <a:gd name="T18" fmla="*/ 46 w 46"/>
                  <a:gd name="T19" fmla="*/ 32 h 46"/>
                  <a:gd name="T20" fmla="*/ 46 w 46"/>
                  <a:gd name="T21" fmla="*/ 22 h 46"/>
                  <a:gd name="T22" fmla="*/ 46 w 46"/>
                  <a:gd name="T23" fmla="*/ 22 h 46"/>
                  <a:gd name="T24" fmla="*/ 46 w 46"/>
                  <a:gd name="T25" fmla="*/ 14 h 46"/>
                  <a:gd name="T26" fmla="*/ 40 w 46"/>
                  <a:gd name="T27" fmla="*/ 6 h 46"/>
                  <a:gd name="T28" fmla="*/ 32 w 46"/>
                  <a:gd name="T29" fmla="*/ 0 h 46"/>
                  <a:gd name="T30" fmla="*/ 24 w 46"/>
                  <a:gd name="T31" fmla="*/ 0 h 46"/>
                  <a:gd name="T32" fmla="*/ 24 w 46"/>
                  <a:gd name="T33" fmla="*/ 0 h 46"/>
                  <a:gd name="T34" fmla="*/ 14 w 46"/>
                  <a:gd name="T35" fmla="*/ 0 h 46"/>
                  <a:gd name="T36" fmla="*/ 6 w 46"/>
                  <a:gd name="T37" fmla="*/ 6 h 46"/>
                  <a:gd name="T38" fmla="*/ 2 w 46"/>
                  <a:gd name="T39" fmla="*/ 14 h 46"/>
                  <a:gd name="T40" fmla="*/ 0 w 46"/>
                  <a:gd name="T41" fmla="*/ 22 h 46"/>
                  <a:gd name="T42" fmla="*/ 0 w 46"/>
                  <a:gd name="T43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46">
                    <a:moveTo>
                      <a:pt x="0" y="22"/>
                    </a:moveTo>
                    <a:lnTo>
                      <a:pt x="0" y="22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6" y="3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4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7" name="Freeform 2002">
                <a:extLst>
                  <a:ext uri="{FF2B5EF4-FFF2-40B4-BE49-F238E27FC236}">
                    <a16:creationId xmlns:a16="http://schemas.microsoft.com/office/drawing/2014/main" id="{04946B40-8CA4-4231-9505-18810213D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33201" y="1969319"/>
                <a:ext cx="155575" cy="76200"/>
              </a:xfrm>
              <a:custGeom>
                <a:avLst/>
                <a:gdLst>
                  <a:gd name="T0" fmla="*/ 82 w 98"/>
                  <a:gd name="T1" fmla="*/ 4 h 48"/>
                  <a:gd name="T2" fmla="*/ 82 w 98"/>
                  <a:gd name="T3" fmla="*/ 4 h 48"/>
                  <a:gd name="T4" fmla="*/ 82 w 98"/>
                  <a:gd name="T5" fmla="*/ 4 h 48"/>
                  <a:gd name="T6" fmla="*/ 80 w 98"/>
                  <a:gd name="T7" fmla="*/ 10 h 48"/>
                  <a:gd name="T8" fmla="*/ 70 w 98"/>
                  <a:gd name="T9" fmla="*/ 18 h 48"/>
                  <a:gd name="T10" fmla="*/ 70 w 98"/>
                  <a:gd name="T11" fmla="*/ 18 h 48"/>
                  <a:gd name="T12" fmla="*/ 64 w 98"/>
                  <a:gd name="T13" fmla="*/ 24 h 48"/>
                  <a:gd name="T14" fmla="*/ 56 w 98"/>
                  <a:gd name="T15" fmla="*/ 28 h 48"/>
                  <a:gd name="T16" fmla="*/ 48 w 98"/>
                  <a:gd name="T17" fmla="*/ 30 h 48"/>
                  <a:gd name="T18" fmla="*/ 38 w 98"/>
                  <a:gd name="T19" fmla="*/ 32 h 48"/>
                  <a:gd name="T20" fmla="*/ 38 w 98"/>
                  <a:gd name="T21" fmla="*/ 32 h 48"/>
                  <a:gd name="T22" fmla="*/ 26 w 98"/>
                  <a:gd name="T23" fmla="*/ 30 h 48"/>
                  <a:gd name="T24" fmla="*/ 12 w 98"/>
                  <a:gd name="T25" fmla="*/ 24 h 48"/>
                  <a:gd name="T26" fmla="*/ 12 w 98"/>
                  <a:gd name="T27" fmla="*/ 24 h 48"/>
                  <a:gd name="T28" fmla="*/ 10 w 98"/>
                  <a:gd name="T29" fmla="*/ 24 h 48"/>
                  <a:gd name="T30" fmla="*/ 6 w 98"/>
                  <a:gd name="T31" fmla="*/ 24 h 48"/>
                  <a:gd name="T32" fmla="*/ 4 w 98"/>
                  <a:gd name="T33" fmla="*/ 26 h 48"/>
                  <a:gd name="T34" fmla="*/ 2 w 98"/>
                  <a:gd name="T35" fmla="*/ 28 h 48"/>
                  <a:gd name="T36" fmla="*/ 2 w 98"/>
                  <a:gd name="T37" fmla="*/ 28 h 48"/>
                  <a:gd name="T38" fmla="*/ 0 w 98"/>
                  <a:gd name="T39" fmla="*/ 32 h 48"/>
                  <a:gd name="T40" fmla="*/ 2 w 98"/>
                  <a:gd name="T41" fmla="*/ 34 h 48"/>
                  <a:gd name="T42" fmla="*/ 2 w 98"/>
                  <a:gd name="T43" fmla="*/ 36 h 48"/>
                  <a:gd name="T44" fmla="*/ 6 w 98"/>
                  <a:gd name="T45" fmla="*/ 38 h 48"/>
                  <a:gd name="T46" fmla="*/ 6 w 98"/>
                  <a:gd name="T47" fmla="*/ 38 h 48"/>
                  <a:gd name="T48" fmla="*/ 22 w 98"/>
                  <a:gd name="T49" fmla="*/ 46 h 48"/>
                  <a:gd name="T50" fmla="*/ 38 w 98"/>
                  <a:gd name="T51" fmla="*/ 48 h 48"/>
                  <a:gd name="T52" fmla="*/ 38 w 98"/>
                  <a:gd name="T53" fmla="*/ 48 h 48"/>
                  <a:gd name="T54" fmla="*/ 52 w 98"/>
                  <a:gd name="T55" fmla="*/ 46 h 48"/>
                  <a:gd name="T56" fmla="*/ 64 w 98"/>
                  <a:gd name="T57" fmla="*/ 42 h 48"/>
                  <a:gd name="T58" fmla="*/ 74 w 98"/>
                  <a:gd name="T59" fmla="*/ 36 h 48"/>
                  <a:gd name="T60" fmla="*/ 82 w 98"/>
                  <a:gd name="T61" fmla="*/ 30 h 48"/>
                  <a:gd name="T62" fmla="*/ 82 w 98"/>
                  <a:gd name="T63" fmla="*/ 30 h 48"/>
                  <a:gd name="T64" fmla="*/ 92 w 98"/>
                  <a:gd name="T65" fmla="*/ 18 h 48"/>
                  <a:gd name="T66" fmla="*/ 96 w 98"/>
                  <a:gd name="T67" fmla="*/ 12 h 48"/>
                  <a:gd name="T68" fmla="*/ 96 w 98"/>
                  <a:gd name="T69" fmla="*/ 12 h 48"/>
                  <a:gd name="T70" fmla="*/ 98 w 98"/>
                  <a:gd name="T71" fmla="*/ 10 h 48"/>
                  <a:gd name="T72" fmla="*/ 98 w 98"/>
                  <a:gd name="T73" fmla="*/ 6 h 48"/>
                  <a:gd name="T74" fmla="*/ 96 w 98"/>
                  <a:gd name="T75" fmla="*/ 4 h 48"/>
                  <a:gd name="T76" fmla="*/ 94 w 98"/>
                  <a:gd name="T77" fmla="*/ 2 h 48"/>
                  <a:gd name="T78" fmla="*/ 94 w 98"/>
                  <a:gd name="T79" fmla="*/ 2 h 48"/>
                  <a:gd name="T80" fmla="*/ 90 w 98"/>
                  <a:gd name="T81" fmla="*/ 0 h 48"/>
                  <a:gd name="T82" fmla="*/ 88 w 98"/>
                  <a:gd name="T83" fmla="*/ 0 h 48"/>
                  <a:gd name="T84" fmla="*/ 86 w 98"/>
                  <a:gd name="T85" fmla="*/ 2 h 48"/>
                  <a:gd name="T86" fmla="*/ 82 w 98"/>
                  <a:gd name="T87" fmla="*/ 4 h 48"/>
                  <a:gd name="T88" fmla="*/ 82 w 98"/>
                  <a:gd name="T89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8" h="48">
                    <a:moveTo>
                      <a:pt x="82" y="4"/>
                    </a:moveTo>
                    <a:lnTo>
                      <a:pt x="82" y="4"/>
                    </a:lnTo>
                    <a:lnTo>
                      <a:pt x="82" y="4"/>
                    </a:lnTo>
                    <a:lnTo>
                      <a:pt x="80" y="10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64" y="24"/>
                    </a:lnTo>
                    <a:lnTo>
                      <a:pt x="56" y="28"/>
                    </a:lnTo>
                    <a:lnTo>
                      <a:pt x="4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26" y="30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6" y="24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22" y="46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52" y="46"/>
                    </a:lnTo>
                    <a:lnTo>
                      <a:pt x="64" y="42"/>
                    </a:lnTo>
                    <a:lnTo>
                      <a:pt x="74" y="3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92" y="1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96" y="4"/>
                    </a:lnTo>
                    <a:lnTo>
                      <a:pt x="94" y="2"/>
                    </a:lnTo>
                    <a:lnTo>
                      <a:pt x="94" y="2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6" y="2"/>
                    </a:lnTo>
                    <a:lnTo>
                      <a:pt x="82" y="4"/>
                    </a:lnTo>
                    <a:lnTo>
                      <a:pt x="82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8" name="Freeform 2003">
                <a:extLst>
                  <a:ext uri="{FF2B5EF4-FFF2-40B4-BE49-F238E27FC236}">
                    <a16:creationId xmlns:a16="http://schemas.microsoft.com/office/drawing/2014/main" id="{C9EA8790-209B-4329-89EE-3FE3233A9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9801" y="651694"/>
                <a:ext cx="1193800" cy="1104900"/>
              </a:xfrm>
              <a:custGeom>
                <a:avLst/>
                <a:gdLst>
                  <a:gd name="T0" fmla="*/ 502 w 752"/>
                  <a:gd name="T1" fmla="*/ 104 h 696"/>
                  <a:gd name="T2" fmla="*/ 456 w 752"/>
                  <a:gd name="T3" fmla="*/ 84 h 696"/>
                  <a:gd name="T4" fmla="*/ 442 w 752"/>
                  <a:gd name="T5" fmla="*/ 72 h 696"/>
                  <a:gd name="T6" fmla="*/ 438 w 752"/>
                  <a:gd name="T7" fmla="*/ 58 h 696"/>
                  <a:gd name="T8" fmla="*/ 440 w 752"/>
                  <a:gd name="T9" fmla="*/ 50 h 696"/>
                  <a:gd name="T10" fmla="*/ 456 w 752"/>
                  <a:gd name="T11" fmla="*/ 26 h 696"/>
                  <a:gd name="T12" fmla="*/ 464 w 752"/>
                  <a:gd name="T13" fmla="*/ 10 h 696"/>
                  <a:gd name="T14" fmla="*/ 460 w 752"/>
                  <a:gd name="T15" fmla="*/ 2 h 696"/>
                  <a:gd name="T16" fmla="*/ 458 w 752"/>
                  <a:gd name="T17" fmla="*/ 0 h 696"/>
                  <a:gd name="T18" fmla="*/ 444 w 752"/>
                  <a:gd name="T19" fmla="*/ 2 h 696"/>
                  <a:gd name="T20" fmla="*/ 406 w 752"/>
                  <a:gd name="T21" fmla="*/ 24 h 696"/>
                  <a:gd name="T22" fmla="*/ 330 w 752"/>
                  <a:gd name="T23" fmla="*/ 78 h 696"/>
                  <a:gd name="T24" fmla="*/ 284 w 752"/>
                  <a:gd name="T25" fmla="*/ 104 h 696"/>
                  <a:gd name="T26" fmla="*/ 262 w 752"/>
                  <a:gd name="T27" fmla="*/ 108 h 696"/>
                  <a:gd name="T28" fmla="*/ 224 w 752"/>
                  <a:gd name="T29" fmla="*/ 122 h 696"/>
                  <a:gd name="T30" fmla="*/ 188 w 752"/>
                  <a:gd name="T31" fmla="*/ 140 h 696"/>
                  <a:gd name="T32" fmla="*/ 154 w 752"/>
                  <a:gd name="T33" fmla="*/ 164 h 696"/>
                  <a:gd name="T34" fmla="*/ 124 w 752"/>
                  <a:gd name="T35" fmla="*/ 190 h 696"/>
                  <a:gd name="T36" fmla="*/ 82 w 752"/>
                  <a:gd name="T37" fmla="*/ 240 h 696"/>
                  <a:gd name="T38" fmla="*/ 40 w 752"/>
                  <a:gd name="T39" fmla="*/ 316 h 696"/>
                  <a:gd name="T40" fmla="*/ 12 w 752"/>
                  <a:gd name="T41" fmla="*/ 402 h 696"/>
                  <a:gd name="T42" fmla="*/ 0 w 752"/>
                  <a:gd name="T43" fmla="*/ 496 h 696"/>
                  <a:gd name="T44" fmla="*/ 6 w 752"/>
                  <a:gd name="T45" fmla="*/ 596 h 696"/>
                  <a:gd name="T46" fmla="*/ 24 w 752"/>
                  <a:gd name="T47" fmla="*/ 672 h 696"/>
                  <a:gd name="T48" fmla="*/ 32 w 752"/>
                  <a:gd name="T49" fmla="*/ 696 h 696"/>
                  <a:gd name="T50" fmla="*/ 100 w 752"/>
                  <a:gd name="T51" fmla="*/ 356 h 696"/>
                  <a:gd name="T52" fmla="*/ 680 w 752"/>
                  <a:gd name="T53" fmla="*/ 696 h 696"/>
                  <a:gd name="T54" fmla="*/ 722 w 752"/>
                  <a:gd name="T55" fmla="*/ 696 h 696"/>
                  <a:gd name="T56" fmla="*/ 736 w 752"/>
                  <a:gd name="T57" fmla="*/ 644 h 696"/>
                  <a:gd name="T58" fmla="*/ 750 w 752"/>
                  <a:gd name="T59" fmla="*/ 544 h 696"/>
                  <a:gd name="T60" fmla="*/ 748 w 752"/>
                  <a:gd name="T61" fmla="*/ 448 h 696"/>
                  <a:gd name="T62" fmla="*/ 730 w 752"/>
                  <a:gd name="T63" fmla="*/ 360 h 696"/>
                  <a:gd name="T64" fmla="*/ 700 w 752"/>
                  <a:gd name="T65" fmla="*/ 282 h 696"/>
                  <a:gd name="T66" fmla="*/ 656 w 752"/>
                  <a:gd name="T67" fmla="*/ 214 h 696"/>
                  <a:gd name="T68" fmla="*/ 602 w 752"/>
                  <a:gd name="T69" fmla="*/ 158 h 696"/>
                  <a:gd name="T70" fmla="*/ 536 w 752"/>
                  <a:gd name="T71" fmla="*/ 118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52" h="696">
                    <a:moveTo>
                      <a:pt x="502" y="104"/>
                    </a:moveTo>
                    <a:lnTo>
                      <a:pt x="502" y="104"/>
                    </a:lnTo>
                    <a:lnTo>
                      <a:pt x="476" y="94"/>
                    </a:lnTo>
                    <a:lnTo>
                      <a:pt x="456" y="84"/>
                    </a:lnTo>
                    <a:lnTo>
                      <a:pt x="448" y="78"/>
                    </a:lnTo>
                    <a:lnTo>
                      <a:pt x="442" y="72"/>
                    </a:lnTo>
                    <a:lnTo>
                      <a:pt x="438" y="64"/>
                    </a:lnTo>
                    <a:lnTo>
                      <a:pt x="438" y="58"/>
                    </a:lnTo>
                    <a:lnTo>
                      <a:pt x="438" y="58"/>
                    </a:lnTo>
                    <a:lnTo>
                      <a:pt x="440" y="50"/>
                    </a:lnTo>
                    <a:lnTo>
                      <a:pt x="444" y="42"/>
                    </a:lnTo>
                    <a:lnTo>
                      <a:pt x="456" y="26"/>
                    </a:lnTo>
                    <a:lnTo>
                      <a:pt x="462" y="18"/>
                    </a:lnTo>
                    <a:lnTo>
                      <a:pt x="464" y="10"/>
                    </a:lnTo>
                    <a:lnTo>
                      <a:pt x="464" y="4"/>
                    </a:lnTo>
                    <a:lnTo>
                      <a:pt x="460" y="2"/>
                    </a:lnTo>
                    <a:lnTo>
                      <a:pt x="458" y="0"/>
                    </a:lnTo>
                    <a:lnTo>
                      <a:pt x="458" y="0"/>
                    </a:lnTo>
                    <a:lnTo>
                      <a:pt x="452" y="0"/>
                    </a:lnTo>
                    <a:lnTo>
                      <a:pt x="444" y="2"/>
                    </a:lnTo>
                    <a:lnTo>
                      <a:pt x="428" y="10"/>
                    </a:lnTo>
                    <a:lnTo>
                      <a:pt x="406" y="24"/>
                    </a:lnTo>
                    <a:lnTo>
                      <a:pt x="382" y="42"/>
                    </a:lnTo>
                    <a:lnTo>
                      <a:pt x="330" y="78"/>
                    </a:lnTo>
                    <a:lnTo>
                      <a:pt x="306" y="94"/>
                    </a:lnTo>
                    <a:lnTo>
                      <a:pt x="284" y="104"/>
                    </a:lnTo>
                    <a:lnTo>
                      <a:pt x="284" y="104"/>
                    </a:lnTo>
                    <a:lnTo>
                      <a:pt x="262" y="108"/>
                    </a:lnTo>
                    <a:lnTo>
                      <a:pt x="244" y="114"/>
                    </a:lnTo>
                    <a:lnTo>
                      <a:pt x="224" y="122"/>
                    </a:lnTo>
                    <a:lnTo>
                      <a:pt x="206" y="130"/>
                    </a:lnTo>
                    <a:lnTo>
                      <a:pt x="188" y="140"/>
                    </a:lnTo>
                    <a:lnTo>
                      <a:pt x="170" y="152"/>
                    </a:lnTo>
                    <a:lnTo>
                      <a:pt x="154" y="164"/>
                    </a:lnTo>
                    <a:lnTo>
                      <a:pt x="138" y="176"/>
                    </a:lnTo>
                    <a:lnTo>
                      <a:pt x="124" y="190"/>
                    </a:lnTo>
                    <a:lnTo>
                      <a:pt x="108" y="206"/>
                    </a:lnTo>
                    <a:lnTo>
                      <a:pt x="82" y="240"/>
                    </a:lnTo>
                    <a:lnTo>
                      <a:pt x="60" y="276"/>
                    </a:lnTo>
                    <a:lnTo>
                      <a:pt x="40" y="316"/>
                    </a:lnTo>
                    <a:lnTo>
                      <a:pt x="24" y="358"/>
                    </a:lnTo>
                    <a:lnTo>
                      <a:pt x="12" y="402"/>
                    </a:lnTo>
                    <a:lnTo>
                      <a:pt x="4" y="448"/>
                    </a:lnTo>
                    <a:lnTo>
                      <a:pt x="0" y="496"/>
                    </a:lnTo>
                    <a:lnTo>
                      <a:pt x="2" y="546"/>
                    </a:lnTo>
                    <a:lnTo>
                      <a:pt x="6" y="596"/>
                    </a:lnTo>
                    <a:lnTo>
                      <a:pt x="16" y="646"/>
                    </a:lnTo>
                    <a:lnTo>
                      <a:pt x="24" y="672"/>
                    </a:lnTo>
                    <a:lnTo>
                      <a:pt x="32" y="696"/>
                    </a:lnTo>
                    <a:lnTo>
                      <a:pt x="32" y="696"/>
                    </a:lnTo>
                    <a:lnTo>
                      <a:pt x="78" y="696"/>
                    </a:lnTo>
                    <a:lnTo>
                      <a:pt x="100" y="356"/>
                    </a:lnTo>
                    <a:lnTo>
                      <a:pt x="656" y="358"/>
                    </a:lnTo>
                    <a:lnTo>
                      <a:pt x="680" y="696"/>
                    </a:lnTo>
                    <a:lnTo>
                      <a:pt x="680" y="696"/>
                    </a:lnTo>
                    <a:lnTo>
                      <a:pt x="722" y="696"/>
                    </a:lnTo>
                    <a:lnTo>
                      <a:pt x="722" y="696"/>
                    </a:lnTo>
                    <a:lnTo>
                      <a:pt x="736" y="644"/>
                    </a:lnTo>
                    <a:lnTo>
                      <a:pt x="746" y="594"/>
                    </a:lnTo>
                    <a:lnTo>
                      <a:pt x="750" y="544"/>
                    </a:lnTo>
                    <a:lnTo>
                      <a:pt x="752" y="496"/>
                    </a:lnTo>
                    <a:lnTo>
                      <a:pt x="748" y="448"/>
                    </a:lnTo>
                    <a:lnTo>
                      <a:pt x="742" y="404"/>
                    </a:lnTo>
                    <a:lnTo>
                      <a:pt x="730" y="360"/>
                    </a:lnTo>
                    <a:lnTo>
                      <a:pt x="718" y="320"/>
                    </a:lnTo>
                    <a:lnTo>
                      <a:pt x="700" y="282"/>
                    </a:lnTo>
                    <a:lnTo>
                      <a:pt x="680" y="246"/>
                    </a:lnTo>
                    <a:lnTo>
                      <a:pt x="656" y="214"/>
                    </a:lnTo>
                    <a:lnTo>
                      <a:pt x="630" y="184"/>
                    </a:lnTo>
                    <a:lnTo>
                      <a:pt x="602" y="158"/>
                    </a:lnTo>
                    <a:lnTo>
                      <a:pt x="570" y="136"/>
                    </a:lnTo>
                    <a:lnTo>
                      <a:pt x="536" y="118"/>
                    </a:lnTo>
                    <a:lnTo>
                      <a:pt x="502" y="10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9" name="Freeform 2004">
                <a:extLst>
                  <a:ext uri="{FF2B5EF4-FFF2-40B4-BE49-F238E27FC236}">
                    <a16:creationId xmlns:a16="http://schemas.microsoft.com/office/drawing/2014/main" id="{DB0E7CDB-74FC-4CAC-8E88-3CB41B120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9801" y="651694"/>
                <a:ext cx="1193800" cy="1104900"/>
              </a:xfrm>
              <a:custGeom>
                <a:avLst/>
                <a:gdLst>
                  <a:gd name="T0" fmla="*/ 502 w 752"/>
                  <a:gd name="T1" fmla="*/ 104 h 696"/>
                  <a:gd name="T2" fmla="*/ 456 w 752"/>
                  <a:gd name="T3" fmla="*/ 84 h 696"/>
                  <a:gd name="T4" fmla="*/ 442 w 752"/>
                  <a:gd name="T5" fmla="*/ 72 h 696"/>
                  <a:gd name="T6" fmla="*/ 438 w 752"/>
                  <a:gd name="T7" fmla="*/ 58 h 696"/>
                  <a:gd name="T8" fmla="*/ 440 w 752"/>
                  <a:gd name="T9" fmla="*/ 50 h 696"/>
                  <a:gd name="T10" fmla="*/ 456 w 752"/>
                  <a:gd name="T11" fmla="*/ 26 h 696"/>
                  <a:gd name="T12" fmla="*/ 464 w 752"/>
                  <a:gd name="T13" fmla="*/ 10 h 696"/>
                  <a:gd name="T14" fmla="*/ 460 w 752"/>
                  <a:gd name="T15" fmla="*/ 2 h 696"/>
                  <a:gd name="T16" fmla="*/ 458 w 752"/>
                  <a:gd name="T17" fmla="*/ 0 h 696"/>
                  <a:gd name="T18" fmla="*/ 444 w 752"/>
                  <a:gd name="T19" fmla="*/ 2 h 696"/>
                  <a:gd name="T20" fmla="*/ 406 w 752"/>
                  <a:gd name="T21" fmla="*/ 24 h 696"/>
                  <a:gd name="T22" fmla="*/ 330 w 752"/>
                  <a:gd name="T23" fmla="*/ 78 h 696"/>
                  <a:gd name="T24" fmla="*/ 284 w 752"/>
                  <a:gd name="T25" fmla="*/ 104 h 696"/>
                  <a:gd name="T26" fmla="*/ 262 w 752"/>
                  <a:gd name="T27" fmla="*/ 108 h 696"/>
                  <a:gd name="T28" fmla="*/ 224 w 752"/>
                  <a:gd name="T29" fmla="*/ 122 h 696"/>
                  <a:gd name="T30" fmla="*/ 188 w 752"/>
                  <a:gd name="T31" fmla="*/ 140 h 696"/>
                  <a:gd name="T32" fmla="*/ 154 w 752"/>
                  <a:gd name="T33" fmla="*/ 164 h 696"/>
                  <a:gd name="T34" fmla="*/ 124 w 752"/>
                  <a:gd name="T35" fmla="*/ 190 h 696"/>
                  <a:gd name="T36" fmla="*/ 82 w 752"/>
                  <a:gd name="T37" fmla="*/ 240 h 696"/>
                  <a:gd name="T38" fmla="*/ 40 w 752"/>
                  <a:gd name="T39" fmla="*/ 316 h 696"/>
                  <a:gd name="T40" fmla="*/ 12 w 752"/>
                  <a:gd name="T41" fmla="*/ 402 h 696"/>
                  <a:gd name="T42" fmla="*/ 0 w 752"/>
                  <a:gd name="T43" fmla="*/ 496 h 696"/>
                  <a:gd name="T44" fmla="*/ 6 w 752"/>
                  <a:gd name="T45" fmla="*/ 596 h 696"/>
                  <a:gd name="T46" fmla="*/ 24 w 752"/>
                  <a:gd name="T47" fmla="*/ 672 h 696"/>
                  <a:gd name="T48" fmla="*/ 32 w 752"/>
                  <a:gd name="T49" fmla="*/ 696 h 696"/>
                  <a:gd name="T50" fmla="*/ 100 w 752"/>
                  <a:gd name="T51" fmla="*/ 356 h 696"/>
                  <a:gd name="T52" fmla="*/ 680 w 752"/>
                  <a:gd name="T53" fmla="*/ 696 h 696"/>
                  <a:gd name="T54" fmla="*/ 722 w 752"/>
                  <a:gd name="T55" fmla="*/ 696 h 696"/>
                  <a:gd name="T56" fmla="*/ 736 w 752"/>
                  <a:gd name="T57" fmla="*/ 644 h 696"/>
                  <a:gd name="T58" fmla="*/ 750 w 752"/>
                  <a:gd name="T59" fmla="*/ 544 h 696"/>
                  <a:gd name="T60" fmla="*/ 748 w 752"/>
                  <a:gd name="T61" fmla="*/ 448 h 696"/>
                  <a:gd name="T62" fmla="*/ 730 w 752"/>
                  <a:gd name="T63" fmla="*/ 360 h 696"/>
                  <a:gd name="T64" fmla="*/ 700 w 752"/>
                  <a:gd name="T65" fmla="*/ 282 h 696"/>
                  <a:gd name="T66" fmla="*/ 656 w 752"/>
                  <a:gd name="T67" fmla="*/ 214 h 696"/>
                  <a:gd name="T68" fmla="*/ 602 w 752"/>
                  <a:gd name="T69" fmla="*/ 158 h 696"/>
                  <a:gd name="T70" fmla="*/ 536 w 752"/>
                  <a:gd name="T71" fmla="*/ 118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52" h="696">
                    <a:moveTo>
                      <a:pt x="502" y="104"/>
                    </a:moveTo>
                    <a:lnTo>
                      <a:pt x="502" y="104"/>
                    </a:lnTo>
                    <a:lnTo>
                      <a:pt x="476" y="94"/>
                    </a:lnTo>
                    <a:lnTo>
                      <a:pt x="456" y="84"/>
                    </a:lnTo>
                    <a:lnTo>
                      <a:pt x="448" y="78"/>
                    </a:lnTo>
                    <a:lnTo>
                      <a:pt x="442" y="72"/>
                    </a:lnTo>
                    <a:lnTo>
                      <a:pt x="438" y="64"/>
                    </a:lnTo>
                    <a:lnTo>
                      <a:pt x="438" y="58"/>
                    </a:lnTo>
                    <a:lnTo>
                      <a:pt x="438" y="58"/>
                    </a:lnTo>
                    <a:lnTo>
                      <a:pt x="440" y="50"/>
                    </a:lnTo>
                    <a:lnTo>
                      <a:pt x="444" y="42"/>
                    </a:lnTo>
                    <a:lnTo>
                      <a:pt x="456" y="26"/>
                    </a:lnTo>
                    <a:lnTo>
                      <a:pt x="462" y="18"/>
                    </a:lnTo>
                    <a:lnTo>
                      <a:pt x="464" y="10"/>
                    </a:lnTo>
                    <a:lnTo>
                      <a:pt x="464" y="4"/>
                    </a:lnTo>
                    <a:lnTo>
                      <a:pt x="460" y="2"/>
                    </a:lnTo>
                    <a:lnTo>
                      <a:pt x="458" y="0"/>
                    </a:lnTo>
                    <a:lnTo>
                      <a:pt x="458" y="0"/>
                    </a:lnTo>
                    <a:lnTo>
                      <a:pt x="452" y="0"/>
                    </a:lnTo>
                    <a:lnTo>
                      <a:pt x="444" y="2"/>
                    </a:lnTo>
                    <a:lnTo>
                      <a:pt x="428" y="10"/>
                    </a:lnTo>
                    <a:lnTo>
                      <a:pt x="406" y="24"/>
                    </a:lnTo>
                    <a:lnTo>
                      <a:pt x="382" y="42"/>
                    </a:lnTo>
                    <a:lnTo>
                      <a:pt x="330" y="78"/>
                    </a:lnTo>
                    <a:lnTo>
                      <a:pt x="306" y="94"/>
                    </a:lnTo>
                    <a:lnTo>
                      <a:pt x="284" y="104"/>
                    </a:lnTo>
                    <a:lnTo>
                      <a:pt x="284" y="104"/>
                    </a:lnTo>
                    <a:lnTo>
                      <a:pt x="262" y="108"/>
                    </a:lnTo>
                    <a:lnTo>
                      <a:pt x="244" y="114"/>
                    </a:lnTo>
                    <a:lnTo>
                      <a:pt x="224" y="122"/>
                    </a:lnTo>
                    <a:lnTo>
                      <a:pt x="206" y="130"/>
                    </a:lnTo>
                    <a:lnTo>
                      <a:pt x="188" y="140"/>
                    </a:lnTo>
                    <a:lnTo>
                      <a:pt x="170" y="152"/>
                    </a:lnTo>
                    <a:lnTo>
                      <a:pt x="154" y="164"/>
                    </a:lnTo>
                    <a:lnTo>
                      <a:pt x="138" y="176"/>
                    </a:lnTo>
                    <a:lnTo>
                      <a:pt x="124" y="190"/>
                    </a:lnTo>
                    <a:lnTo>
                      <a:pt x="108" y="206"/>
                    </a:lnTo>
                    <a:lnTo>
                      <a:pt x="82" y="240"/>
                    </a:lnTo>
                    <a:lnTo>
                      <a:pt x="60" y="276"/>
                    </a:lnTo>
                    <a:lnTo>
                      <a:pt x="40" y="316"/>
                    </a:lnTo>
                    <a:lnTo>
                      <a:pt x="24" y="358"/>
                    </a:lnTo>
                    <a:lnTo>
                      <a:pt x="12" y="402"/>
                    </a:lnTo>
                    <a:lnTo>
                      <a:pt x="4" y="448"/>
                    </a:lnTo>
                    <a:lnTo>
                      <a:pt x="0" y="496"/>
                    </a:lnTo>
                    <a:lnTo>
                      <a:pt x="2" y="546"/>
                    </a:lnTo>
                    <a:lnTo>
                      <a:pt x="6" y="596"/>
                    </a:lnTo>
                    <a:lnTo>
                      <a:pt x="16" y="646"/>
                    </a:lnTo>
                    <a:lnTo>
                      <a:pt x="24" y="672"/>
                    </a:lnTo>
                    <a:lnTo>
                      <a:pt x="32" y="696"/>
                    </a:lnTo>
                    <a:lnTo>
                      <a:pt x="32" y="696"/>
                    </a:lnTo>
                    <a:lnTo>
                      <a:pt x="78" y="696"/>
                    </a:lnTo>
                    <a:lnTo>
                      <a:pt x="100" y="356"/>
                    </a:lnTo>
                    <a:lnTo>
                      <a:pt x="656" y="358"/>
                    </a:lnTo>
                    <a:lnTo>
                      <a:pt x="680" y="696"/>
                    </a:lnTo>
                    <a:lnTo>
                      <a:pt x="680" y="696"/>
                    </a:lnTo>
                    <a:lnTo>
                      <a:pt x="722" y="696"/>
                    </a:lnTo>
                    <a:lnTo>
                      <a:pt x="722" y="696"/>
                    </a:lnTo>
                    <a:lnTo>
                      <a:pt x="736" y="644"/>
                    </a:lnTo>
                    <a:lnTo>
                      <a:pt x="746" y="594"/>
                    </a:lnTo>
                    <a:lnTo>
                      <a:pt x="750" y="544"/>
                    </a:lnTo>
                    <a:lnTo>
                      <a:pt x="752" y="496"/>
                    </a:lnTo>
                    <a:lnTo>
                      <a:pt x="748" y="448"/>
                    </a:lnTo>
                    <a:lnTo>
                      <a:pt x="742" y="404"/>
                    </a:lnTo>
                    <a:lnTo>
                      <a:pt x="730" y="360"/>
                    </a:lnTo>
                    <a:lnTo>
                      <a:pt x="718" y="320"/>
                    </a:lnTo>
                    <a:lnTo>
                      <a:pt x="700" y="282"/>
                    </a:lnTo>
                    <a:lnTo>
                      <a:pt x="680" y="246"/>
                    </a:lnTo>
                    <a:lnTo>
                      <a:pt x="656" y="214"/>
                    </a:lnTo>
                    <a:lnTo>
                      <a:pt x="630" y="184"/>
                    </a:lnTo>
                    <a:lnTo>
                      <a:pt x="602" y="158"/>
                    </a:lnTo>
                    <a:lnTo>
                      <a:pt x="570" y="136"/>
                    </a:lnTo>
                    <a:lnTo>
                      <a:pt x="536" y="118"/>
                    </a:lnTo>
                    <a:lnTo>
                      <a:pt x="502" y="10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0" name="Freeform 2005">
                <a:extLst>
                  <a:ext uri="{FF2B5EF4-FFF2-40B4-BE49-F238E27FC236}">
                    <a16:creationId xmlns:a16="http://schemas.microsoft.com/office/drawing/2014/main" id="{F2C7A4F4-1997-46EA-A6CD-9BE5D6315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5851" y="689794"/>
                <a:ext cx="434975" cy="317500"/>
              </a:xfrm>
              <a:custGeom>
                <a:avLst/>
                <a:gdLst>
                  <a:gd name="T0" fmla="*/ 0 w 274"/>
                  <a:gd name="T1" fmla="*/ 200 h 200"/>
                  <a:gd name="T2" fmla="*/ 0 w 274"/>
                  <a:gd name="T3" fmla="*/ 200 h 200"/>
                  <a:gd name="T4" fmla="*/ 28 w 274"/>
                  <a:gd name="T5" fmla="*/ 168 h 200"/>
                  <a:gd name="T6" fmla="*/ 60 w 274"/>
                  <a:gd name="T7" fmla="*/ 134 h 200"/>
                  <a:gd name="T8" fmla="*/ 98 w 274"/>
                  <a:gd name="T9" fmla="*/ 100 h 200"/>
                  <a:gd name="T10" fmla="*/ 136 w 274"/>
                  <a:gd name="T11" fmla="*/ 66 h 200"/>
                  <a:gd name="T12" fmla="*/ 172 w 274"/>
                  <a:gd name="T13" fmla="*/ 38 h 200"/>
                  <a:gd name="T14" fmla="*/ 202 w 274"/>
                  <a:gd name="T15" fmla="*/ 16 h 200"/>
                  <a:gd name="T16" fmla="*/ 224 w 274"/>
                  <a:gd name="T17" fmla="*/ 4 h 200"/>
                  <a:gd name="T18" fmla="*/ 232 w 274"/>
                  <a:gd name="T19" fmla="*/ 0 h 200"/>
                  <a:gd name="T20" fmla="*/ 238 w 274"/>
                  <a:gd name="T21" fmla="*/ 0 h 200"/>
                  <a:gd name="T22" fmla="*/ 238 w 274"/>
                  <a:gd name="T23" fmla="*/ 0 h 200"/>
                  <a:gd name="T24" fmla="*/ 242 w 274"/>
                  <a:gd name="T25" fmla="*/ 4 h 200"/>
                  <a:gd name="T26" fmla="*/ 244 w 274"/>
                  <a:gd name="T27" fmla="*/ 8 h 200"/>
                  <a:gd name="T28" fmla="*/ 244 w 274"/>
                  <a:gd name="T29" fmla="*/ 14 h 200"/>
                  <a:gd name="T30" fmla="*/ 240 w 274"/>
                  <a:gd name="T31" fmla="*/ 20 h 200"/>
                  <a:gd name="T32" fmla="*/ 234 w 274"/>
                  <a:gd name="T33" fmla="*/ 32 h 200"/>
                  <a:gd name="T34" fmla="*/ 230 w 274"/>
                  <a:gd name="T35" fmla="*/ 38 h 200"/>
                  <a:gd name="T36" fmla="*/ 228 w 274"/>
                  <a:gd name="T37" fmla="*/ 44 h 200"/>
                  <a:gd name="T38" fmla="*/ 228 w 274"/>
                  <a:gd name="T39" fmla="*/ 44 h 200"/>
                  <a:gd name="T40" fmla="*/ 228 w 274"/>
                  <a:gd name="T41" fmla="*/ 48 h 200"/>
                  <a:gd name="T42" fmla="*/ 230 w 274"/>
                  <a:gd name="T43" fmla="*/ 50 h 200"/>
                  <a:gd name="T44" fmla="*/ 234 w 274"/>
                  <a:gd name="T45" fmla="*/ 50 h 200"/>
                  <a:gd name="T46" fmla="*/ 242 w 274"/>
                  <a:gd name="T47" fmla="*/ 48 h 200"/>
                  <a:gd name="T48" fmla="*/ 250 w 274"/>
                  <a:gd name="T49" fmla="*/ 44 h 200"/>
                  <a:gd name="T50" fmla="*/ 266 w 274"/>
                  <a:gd name="T51" fmla="*/ 36 h 200"/>
                  <a:gd name="T52" fmla="*/ 272 w 274"/>
                  <a:gd name="T53" fmla="*/ 30 h 200"/>
                  <a:gd name="T54" fmla="*/ 274 w 274"/>
                  <a:gd name="T55" fmla="*/ 124 h 200"/>
                  <a:gd name="T56" fmla="*/ 0 w 274"/>
                  <a:gd name="T57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4" h="200">
                    <a:moveTo>
                      <a:pt x="0" y="200"/>
                    </a:moveTo>
                    <a:lnTo>
                      <a:pt x="0" y="200"/>
                    </a:lnTo>
                    <a:lnTo>
                      <a:pt x="28" y="168"/>
                    </a:lnTo>
                    <a:lnTo>
                      <a:pt x="60" y="134"/>
                    </a:lnTo>
                    <a:lnTo>
                      <a:pt x="98" y="100"/>
                    </a:lnTo>
                    <a:lnTo>
                      <a:pt x="136" y="66"/>
                    </a:lnTo>
                    <a:lnTo>
                      <a:pt x="172" y="38"/>
                    </a:lnTo>
                    <a:lnTo>
                      <a:pt x="202" y="16"/>
                    </a:lnTo>
                    <a:lnTo>
                      <a:pt x="224" y="4"/>
                    </a:lnTo>
                    <a:lnTo>
                      <a:pt x="232" y="0"/>
                    </a:lnTo>
                    <a:lnTo>
                      <a:pt x="238" y="0"/>
                    </a:lnTo>
                    <a:lnTo>
                      <a:pt x="238" y="0"/>
                    </a:lnTo>
                    <a:lnTo>
                      <a:pt x="242" y="4"/>
                    </a:lnTo>
                    <a:lnTo>
                      <a:pt x="244" y="8"/>
                    </a:lnTo>
                    <a:lnTo>
                      <a:pt x="244" y="14"/>
                    </a:lnTo>
                    <a:lnTo>
                      <a:pt x="240" y="20"/>
                    </a:lnTo>
                    <a:lnTo>
                      <a:pt x="234" y="32"/>
                    </a:lnTo>
                    <a:lnTo>
                      <a:pt x="230" y="38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28" y="48"/>
                    </a:lnTo>
                    <a:lnTo>
                      <a:pt x="230" y="50"/>
                    </a:lnTo>
                    <a:lnTo>
                      <a:pt x="234" y="50"/>
                    </a:lnTo>
                    <a:lnTo>
                      <a:pt x="242" y="48"/>
                    </a:lnTo>
                    <a:lnTo>
                      <a:pt x="250" y="44"/>
                    </a:lnTo>
                    <a:lnTo>
                      <a:pt x="266" y="36"/>
                    </a:lnTo>
                    <a:lnTo>
                      <a:pt x="272" y="30"/>
                    </a:lnTo>
                    <a:lnTo>
                      <a:pt x="274" y="124"/>
                    </a:lnTo>
                    <a:lnTo>
                      <a:pt x="0" y="20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1" name="Freeform 2006">
                <a:extLst>
                  <a:ext uri="{FF2B5EF4-FFF2-40B4-BE49-F238E27FC236}">
                    <a16:creationId xmlns:a16="http://schemas.microsoft.com/office/drawing/2014/main" id="{091B824F-88BB-4648-931D-98356A1B0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5851" y="689794"/>
                <a:ext cx="434975" cy="317500"/>
              </a:xfrm>
              <a:custGeom>
                <a:avLst/>
                <a:gdLst>
                  <a:gd name="T0" fmla="*/ 0 w 274"/>
                  <a:gd name="T1" fmla="*/ 200 h 200"/>
                  <a:gd name="T2" fmla="*/ 0 w 274"/>
                  <a:gd name="T3" fmla="*/ 200 h 200"/>
                  <a:gd name="T4" fmla="*/ 28 w 274"/>
                  <a:gd name="T5" fmla="*/ 168 h 200"/>
                  <a:gd name="T6" fmla="*/ 60 w 274"/>
                  <a:gd name="T7" fmla="*/ 134 h 200"/>
                  <a:gd name="T8" fmla="*/ 98 w 274"/>
                  <a:gd name="T9" fmla="*/ 100 h 200"/>
                  <a:gd name="T10" fmla="*/ 136 w 274"/>
                  <a:gd name="T11" fmla="*/ 66 h 200"/>
                  <a:gd name="T12" fmla="*/ 172 w 274"/>
                  <a:gd name="T13" fmla="*/ 38 h 200"/>
                  <a:gd name="T14" fmla="*/ 202 w 274"/>
                  <a:gd name="T15" fmla="*/ 16 h 200"/>
                  <a:gd name="T16" fmla="*/ 224 w 274"/>
                  <a:gd name="T17" fmla="*/ 4 h 200"/>
                  <a:gd name="T18" fmla="*/ 232 w 274"/>
                  <a:gd name="T19" fmla="*/ 0 h 200"/>
                  <a:gd name="T20" fmla="*/ 238 w 274"/>
                  <a:gd name="T21" fmla="*/ 0 h 200"/>
                  <a:gd name="T22" fmla="*/ 238 w 274"/>
                  <a:gd name="T23" fmla="*/ 0 h 200"/>
                  <a:gd name="T24" fmla="*/ 242 w 274"/>
                  <a:gd name="T25" fmla="*/ 4 h 200"/>
                  <a:gd name="T26" fmla="*/ 244 w 274"/>
                  <a:gd name="T27" fmla="*/ 8 h 200"/>
                  <a:gd name="T28" fmla="*/ 244 w 274"/>
                  <a:gd name="T29" fmla="*/ 14 h 200"/>
                  <a:gd name="T30" fmla="*/ 240 w 274"/>
                  <a:gd name="T31" fmla="*/ 20 h 200"/>
                  <a:gd name="T32" fmla="*/ 234 w 274"/>
                  <a:gd name="T33" fmla="*/ 32 h 200"/>
                  <a:gd name="T34" fmla="*/ 230 w 274"/>
                  <a:gd name="T35" fmla="*/ 38 h 200"/>
                  <a:gd name="T36" fmla="*/ 228 w 274"/>
                  <a:gd name="T37" fmla="*/ 44 h 200"/>
                  <a:gd name="T38" fmla="*/ 228 w 274"/>
                  <a:gd name="T39" fmla="*/ 44 h 200"/>
                  <a:gd name="T40" fmla="*/ 228 w 274"/>
                  <a:gd name="T41" fmla="*/ 48 h 200"/>
                  <a:gd name="T42" fmla="*/ 230 w 274"/>
                  <a:gd name="T43" fmla="*/ 50 h 200"/>
                  <a:gd name="T44" fmla="*/ 234 w 274"/>
                  <a:gd name="T45" fmla="*/ 50 h 200"/>
                  <a:gd name="T46" fmla="*/ 242 w 274"/>
                  <a:gd name="T47" fmla="*/ 48 h 200"/>
                  <a:gd name="T48" fmla="*/ 250 w 274"/>
                  <a:gd name="T49" fmla="*/ 44 h 200"/>
                  <a:gd name="T50" fmla="*/ 266 w 274"/>
                  <a:gd name="T51" fmla="*/ 36 h 200"/>
                  <a:gd name="T52" fmla="*/ 272 w 274"/>
                  <a:gd name="T53" fmla="*/ 30 h 200"/>
                  <a:gd name="T54" fmla="*/ 274 w 274"/>
                  <a:gd name="T55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74" h="200">
                    <a:moveTo>
                      <a:pt x="0" y="200"/>
                    </a:moveTo>
                    <a:lnTo>
                      <a:pt x="0" y="200"/>
                    </a:lnTo>
                    <a:lnTo>
                      <a:pt x="28" y="168"/>
                    </a:lnTo>
                    <a:lnTo>
                      <a:pt x="60" y="134"/>
                    </a:lnTo>
                    <a:lnTo>
                      <a:pt x="98" y="100"/>
                    </a:lnTo>
                    <a:lnTo>
                      <a:pt x="136" y="66"/>
                    </a:lnTo>
                    <a:lnTo>
                      <a:pt x="172" y="38"/>
                    </a:lnTo>
                    <a:lnTo>
                      <a:pt x="202" y="16"/>
                    </a:lnTo>
                    <a:lnTo>
                      <a:pt x="224" y="4"/>
                    </a:lnTo>
                    <a:lnTo>
                      <a:pt x="232" y="0"/>
                    </a:lnTo>
                    <a:lnTo>
                      <a:pt x="238" y="0"/>
                    </a:lnTo>
                    <a:lnTo>
                      <a:pt x="238" y="0"/>
                    </a:lnTo>
                    <a:lnTo>
                      <a:pt x="242" y="4"/>
                    </a:lnTo>
                    <a:lnTo>
                      <a:pt x="244" y="8"/>
                    </a:lnTo>
                    <a:lnTo>
                      <a:pt x="244" y="14"/>
                    </a:lnTo>
                    <a:lnTo>
                      <a:pt x="240" y="20"/>
                    </a:lnTo>
                    <a:lnTo>
                      <a:pt x="234" y="32"/>
                    </a:lnTo>
                    <a:lnTo>
                      <a:pt x="230" y="38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28" y="48"/>
                    </a:lnTo>
                    <a:lnTo>
                      <a:pt x="230" y="50"/>
                    </a:lnTo>
                    <a:lnTo>
                      <a:pt x="234" y="50"/>
                    </a:lnTo>
                    <a:lnTo>
                      <a:pt x="242" y="48"/>
                    </a:lnTo>
                    <a:lnTo>
                      <a:pt x="250" y="44"/>
                    </a:lnTo>
                    <a:lnTo>
                      <a:pt x="266" y="36"/>
                    </a:lnTo>
                    <a:lnTo>
                      <a:pt x="272" y="30"/>
                    </a:lnTo>
                    <a:lnTo>
                      <a:pt x="274" y="1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2" name="Freeform 2007">
                <a:extLst>
                  <a:ext uri="{FF2B5EF4-FFF2-40B4-BE49-F238E27FC236}">
                    <a16:creationId xmlns:a16="http://schemas.microsoft.com/office/drawing/2014/main" id="{0DF801CA-D027-4DE1-BE14-2571CC673D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1" y="1816919"/>
                <a:ext cx="165100" cy="41275"/>
              </a:xfrm>
              <a:custGeom>
                <a:avLst/>
                <a:gdLst>
                  <a:gd name="T0" fmla="*/ 96 w 104"/>
                  <a:gd name="T1" fmla="*/ 0 h 26"/>
                  <a:gd name="T2" fmla="*/ 96 w 104"/>
                  <a:gd name="T3" fmla="*/ 0 h 26"/>
                  <a:gd name="T4" fmla="*/ 92 w 104"/>
                  <a:gd name="T5" fmla="*/ 2 h 26"/>
                  <a:gd name="T6" fmla="*/ 92 w 104"/>
                  <a:gd name="T7" fmla="*/ 2 h 26"/>
                  <a:gd name="T8" fmla="*/ 92 w 104"/>
                  <a:gd name="T9" fmla="*/ 2 h 26"/>
                  <a:gd name="T10" fmla="*/ 92 w 104"/>
                  <a:gd name="T11" fmla="*/ 2 h 26"/>
                  <a:gd name="T12" fmla="*/ 92 w 104"/>
                  <a:gd name="T13" fmla="*/ 2 h 26"/>
                  <a:gd name="T14" fmla="*/ 82 w 104"/>
                  <a:gd name="T15" fmla="*/ 6 h 26"/>
                  <a:gd name="T16" fmla="*/ 68 w 104"/>
                  <a:gd name="T17" fmla="*/ 10 h 26"/>
                  <a:gd name="T18" fmla="*/ 52 w 104"/>
                  <a:gd name="T19" fmla="*/ 10 h 26"/>
                  <a:gd name="T20" fmla="*/ 52 w 104"/>
                  <a:gd name="T21" fmla="*/ 10 h 26"/>
                  <a:gd name="T22" fmla="*/ 36 w 104"/>
                  <a:gd name="T23" fmla="*/ 10 h 26"/>
                  <a:gd name="T24" fmla="*/ 22 w 104"/>
                  <a:gd name="T25" fmla="*/ 6 h 26"/>
                  <a:gd name="T26" fmla="*/ 22 w 104"/>
                  <a:gd name="T27" fmla="*/ 6 h 26"/>
                  <a:gd name="T28" fmla="*/ 14 w 104"/>
                  <a:gd name="T29" fmla="*/ 2 h 26"/>
                  <a:gd name="T30" fmla="*/ 14 w 104"/>
                  <a:gd name="T31" fmla="*/ 2 h 26"/>
                  <a:gd name="T32" fmla="*/ 12 w 104"/>
                  <a:gd name="T33" fmla="*/ 2 h 26"/>
                  <a:gd name="T34" fmla="*/ 12 w 104"/>
                  <a:gd name="T35" fmla="*/ 2 h 26"/>
                  <a:gd name="T36" fmla="*/ 12 w 104"/>
                  <a:gd name="T37" fmla="*/ 2 h 26"/>
                  <a:gd name="T38" fmla="*/ 12 w 104"/>
                  <a:gd name="T39" fmla="*/ 2 h 26"/>
                  <a:gd name="T40" fmla="*/ 12 w 104"/>
                  <a:gd name="T41" fmla="*/ 2 h 26"/>
                  <a:gd name="T42" fmla="*/ 12 w 104"/>
                  <a:gd name="T43" fmla="*/ 2 h 26"/>
                  <a:gd name="T44" fmla="*/ 12 w 104"/>
                  <a:gd name="T45" fmla="*/ 2 h 26"/>
                  <a:gd name="T46" fmla="*/ 12 w 104"/>
                  <a:gd name="T47" fmla="*/ 2 h 26"/>
                  <a:gd name="T48" fmla="*/ 8 w 104"/>
                  <a:gd name="T49" fmla="*/ 0 h 26"/>
                  <a:gd name="T50" fmla="*/ 8 w 104"/>
                  <a:gd name="T51" fmla="*/ 0 h 26"/>
                  <a:gd name="T52" fmla="*/ 4 w 104"/>
                  <a:gd name="T53" fmla="*/ 0 h 26"/>
                  <a:gd name="T54" fmla="*/ 2 w 104"/>
                  <a:gd name="T55" fmla="*/ 4 h 26"/>
                  <a:gd name="T56" fmla="*/ 2 w 104"/>
                  <a:gd name="T57" fmla="*/ 4 h 26"/>
                  <a:gd name="T58" fmla="*/ 0 w 104"/>
                  <a:gd name="T59" fmla="*/ 6 h 26"/>
                  <a:gd name="T60" fmla="*/ 0 w 104"/>
                  <a:gd name="T61" fmla="*/ 10 h 26"/>
                  <a:gd name="T62" fmla="*/ 2 w 104"/>
                  <a:gd name="T63" fmla="*/ 12 h 26"/>
                  <a:gd name="T64" fmla="*/ 4 w 104"/>
                  <a:gd name="T65" fmla="*/ 14 h 26"/>
                  <a:gd name="T66" fmla="*/ 4 w 104"/>
                  <a:gd name="T67" fmla="*/ 14 h 26"/>
                  <a:gd name="T68" fmla="*/ 8 w 104"/>
                  <a:gd name="T69" fmla="*/ 16 h 26"/>
                  <a:gd name="T70" fmla="*/ 18 w 104"/>
                  <a:gd name="T71" fmla="*/ 20 h 26"/>
                  <a:gd name="T72" fmla="*/ 32 w 104"/>
                  <a:gd name="T73" fmla="*/ 24 h 26"/>
                  <a:gd name="T74" fmla="*/ 52 w 104"/>
                  <a:gd name="T75" fmla="*/ 26 h 26"/>
                  <a:gd name="T76" fmla="*/ 52 w 104"/>
                  <a:gd name="T77" fmla="*/ 26 h 26"/>
                  <a:gd name="T78" fmla="*/ 72 w 104"/>
                  <a:gd name="T79" fmla="*/ 24 h 26"/>
                  <a:gd name="T80" fmla="*/ 88 w 104"/>
                  <a:gd name="T81" fmla="*/ 20 h 26"/>
                  <a:gd name="T82" fmla="*/ 98 w 104"/>
                  <a:gd name="T83" fmla="*/ 16 h 26"/>
                  <a:gd name="T84" fmla="*/ 102 w 104"/>
                  <a:gd name="T85" fmla="*/ 14 h 26"/>
                  <a:gd name="T86" fmla="*/ 102 w 104"/>
                  <a:gd name="T87" fmla="*/ 14 h 26"/>
                  <a:gd name="T88" fmla="*/ 104 w 104"/>
                  <a:gd name="T89" fmla="*/ 12 h 26"/>
                  <a:gd name="T90" fmla="*/ 104 w 104"/>
                  <a:gd name="T91" fmla="*/ 10 h 26"/>
                  <a:gd name="T92" fmla="*/ 104 w 104"/>
                  <a:gd name="T93" fmla="*/ 6 h 26"/>
                  <a:gd name="T94" fmla="*/ 104 w 104"/>
                  <a:gd name="T95" fmla="*/ 4 h 26"/>
                  <a:gd name="T96" fmla="*/ 104 w 104"/>
                  <a:gd name="T97" fmla="*/ 4 h 26"/>
                  <a:gd name="T98" fmla="*/ 100 w 104"/>
                  <a:gd name="T99" fmla="*/ 0 h 26"/>
                  <a:gd name="T100" fmla="*/ 96 w 104"/>
                  <a:gd name="T10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4" h="26">
                    <a:moveTo>
                      <a:pt x="96" y="0"/>
                    </a:moveTo>
                    <a:lnTo>
                      <a:pt x="96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2" y="6"/>
                    </a:lnTo>
                    <a:lnTo>
                      <a:pt x="6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36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6"/>
                    </a:lnTo>
                    <a:lnTo>
                      <a:pt x="18" y="20"/>
                    </a:lnTo>
                    <a:lnTo>
                      <a:pt x="32" y="24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72" y="24"/>
                    </a:lnTo>
                    <a:lnTo>
                      <a:pt x="88" y="20"/>
                    </a:lnTo>
                    <a:lnTo>
                      <a:pt x="98" y="16"/>
                    </a:lnTo>
                    <a:lnTo>
                      <a:pt x="102" y="14"/>
                    </a:lnTo>
                    <a:lnTo>
                      <a:pt x="102" y="14"/>
                    </a:lnTo>
                    <a:lnTo>
                      <a:pt x="104" y="12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0" y="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6E4E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3" name="Freeform 2008">
                <a:extLst>
                  <a:ext uri="{FF2B5EF4-FFF2-40B4-BE49-F238E27FC236}">
                    <a16:creationId xmlns:a16="http://schemas.microsoft.com/office/drawing/2014/main" id="{1BA1D0EF-3700-49E8-9FA3-775A685B1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1" y="1816919"/>
                <a:ext cx="165100" cy="41275"/>
              </a:xfrm>
              <a:custGeom>
                <a:avLst/>
                <a:gdLst>
                  <a:gd name="T0" fmla="*/ 96 w 104"/>
                  <a:gd name="T1" fmla="*/ 0 h 26"/>
                  <a:gd name="T2" fmla="*/ 96 w 104"/>
                  <a:gd name="T3" fmla="*/ 0 h 26"/>
                  <a:gd name="T4" fmla="*/ 92 w 104"/>
                  <a:gd name="T5" fmla="*/ 2 h 26"/>
                  <a:gd name="T6" fmla="*/ 92 w 104"/>
                  <a:gd name="T7" fmla="*/ 2 h 26"/>
                  <a:gd name="T8" fmla="*/ 92 w 104"/>
                  <a:gd name="T9" fmla="*/ 2 h 26"/>
                  <a:gd name="T10" fmla="*/ 92 w 104"/>
                  <a:gd name="T11" fmla="*/ 2 h 26"/>
                  <a:gd name="T12" fmla="*/ 92 w 104"/>
                  <a:gd name="T13" fmla="*/ 2 h 26"/>
                  <a:gd name="T14" fmla="*/ 82 w 104"/>
                  <a:gd name="T15" fmla="*/ 6 h 26"/>
                  <a:gd name="T16" fmla="*/ 68 w 104"/>
                  <a:gd name="T17" fmla="*/ 10 h 26"/>
                  <a:gd name="T18" fmla="*/ 52 w 104"/>
                  <a:gd name="T19" fmla="*/ 10 h 26"/>
                  <a:gd name="T20" fmla="*/ 52 w 104"/>
                  <a:gd name="T21" fmla="*/ 10 h 26"/>
                  <a:gd name="T22" fmla="*/ 36 w 104"/>
                  <a:gd name="T23" fmla="*/ 10 h 26"/>
                  <a:gd name="T24" fmla="*/ 22 w 104"/>
                  <a:gd name="T25" fmla="*/ 6 h 26"/>
                  <a:gd name="T26" fmla="*/ 22 w 104"/>
                  <a:gd name="T27" fmla="*/ 6 h 26"/>
                  <a:gd name="T28" fmla="*/ 14 w 104"/>
                  <a:gd name="T29" fmla="*/ 2 h 26"/>
                  <a:gd name="T30" fmla="*/ 14 w 104"/>
                  <a:gd name="T31" fmla="*/ 2 h 26"/>
                  <a:gd name="T32" fmla="*/ 12 w 104"/>
                  <a:gd name="T33" fmla="*/ 2 h 26"/>
                  <a:gd name="T34" fmla="*/ 12 w 104"/>
                  <a:gd name="T35" fmla="*/ 2 h 26"/>
                  <a:gd name="T36" fmla="*/ 12 w 104"/>
                  <a:gd name="T37" fmla="*/ 2 h 26"/>
                  <a:gd name="T38" fmla="*/ 12 w 104"/>
                  <a:gd name="T39" fmla="*/ 2 h 26"/>
                  <a:gd name="T40" fmla="*/ 12 w 104"/>
                  <a:gd name="T41" fmla="*/ 2 h 26"/>
                  <a:gd name="T42" fmla="*/ 12 w 104"/>
                  <a:gd name="T43" fmla="*/ 2 h 26"/>
                  <a:gd name="T44" fmla="*/ 12 w 104"/>
                  <a:gd name="T45" fmla="*/ 2 h 26"/>
                  <a:gd name="T46" fmla="*/ 12 w 104"/>
                  <a:gd name="T47" fmla="*/ 2 h 26"/>
                  <a:gd name="T48" fmla="*/ 8 w 104"/>
                  <a:gd name="T49" fmla="*/ 0 h 26"/>
                  <a:gd name="T50" fmla="*/ 8 w 104"/>
                  <a:gd name="T51" fmla="*/ 0 h 26"/>
                  <a:gd name="T52" fmla="*/ 4 w 104"/>
                  <a:gd name="T53" fmla="*/ 0 h 26"/>
                  <a:gd name="T54" fmla="*/ 2 w 104"/>
                  <a:gd name="T55" fmla="*/ 4 h 26"/>
                  <a:gd name="T56" fmla="*/ 2 w 104"/>
                  <a:gd name="T57" fmla="*/ 4 h 26"/>
                  <a:gd name="T58" fmla="*/ 0 w 104"/>
                  <a:gd name="T59" fmla="*/ 6 h 26"/>
                  <a:gd name="T60" fmla="*/ 0 w 104"/>
                  <a:gd name="T61" fmla="*/ 10 h 26"/>
                  <a:gd name="T62" fmla="*/ 2 w 104"/>
                  <a:gd name="T63" fmla="*/ 12 h 26"/>
                  <a:gd name="T64" fmla="*/ 4 w 104"/>
                  <a:gd name="T65" fmla="*/ 14 h 26"/>
                  <a:gd name="T66" fmla="*/ 4 w 104"/>
                  <a:gd name="T67" fmla="*/ 14 h 26"/>
                  <a:gd name="T68" fmla="*/ 8 w 104"/>
                  <a:gd name="T69" fmla="*/ 16 h 26"/>
                  <a:gd name="T70" fmla="*/ 18 w 104"/>
                  <a:gd name="T71" fmla="*/ 20 h 26"/>
                  <a:gd name="T72" fmla="*/ 32 w 104"/>
                  <a:gd name="T73" fmla="*/ 24 h 26"/>
                  <a:gd name="T74" fmla="*/ 52 w 104"/>
                  <a:gd name="T75" fmla="*/ 26 h 26"/>
                  <a:gd name="T76" fmla="*/ 52 w 104"/>
                  <a:gd name="T77" fmla="*/ 26 h 26"/>
                  <a:gd name="T78" fmla="*/ 72 w 104"/>
                  <a:gd name="T79" fmla="*/ 24 h 26"/>
                  <a:gd name="T80" fmla="*/ 88 w 104"/>
                  <a:gd name="T81" fmla="*/ 20 h 26"/>
                  <a:gd name="T82" fmla="*/ 98 w 104"/>
                  <a:gd name="T83" fmla="*/ 16 h 26"/>
                  <a:gd name="T84" fmla="*/ 102 w 104"/>
                  <a:gd name="T85" fmla="*/ 14 h 26"/>
                  <a:gd name="T86" fmla="*/ 102 w 104"/>
                  <a:gd name="T87" fmla="*/ 14 h 26"/>
                  <a:gd name="T88" fmla="*/ 104 w 104"/>
                  <a:gd name="T89" fmla="*/ 12 h 26"/>
                  <a:gd name="T90" fmla="*/ 104 w 104"/>
                  <a:gd name="T91" fmla="*/ 10 h 26"/>
                  <a:gd name="T92" fmla="*/ 104 w 104"/>
                  <a:gd name="T93" fmla="*/ 6 h 26"/>
                  <a:gd name="T94" fmla="*/ 104 w 104"/>
                  <a:gd name="T95" fmla="*/ 4 h 26"/>
                  <a:gd name="T96" fmla="*/ 104 w 104"/>
                  <a:gd name="T97" fmla="*/ 4 h 26"/>
                  <a:gd name="T98" fmla="*/ 100 w 104"/>
                  <a:gd name="T99" fmla="*/ 0 h 26"/>
                  <a:gd name="T100" fmla="*/ 96 w 104"/>
                  <a:gd name="T10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4" h="26">
                    <a:moveTo>
                      <a:pt x="96" y="0"/>
                    </a:moveTo>
                    <a:lnTo>
                      <a:pt x="96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2" y="6"/>
                    </a:lnTo>
                    <a:lnTo>
                      <a:pt x="6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36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6"/>
                    </a:lnTo>
                    <a:lnTo>
                      <a:pt x="18" y="20"/>
                    </a:lnTo>
                    <a:lnTo>
                      <a:pt x="32" y="24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72" y="24"/>
                    </a:lnTo>
                    <a:lnTo>
                      <a:pt x="88" y="20"/>
                    </a:lnTo>
                    <a:lnTo>
                      <a:pt x="98" y="16"/>
                    </a:lnTo>
                    <a:lnTo>
                      <a:pt x="102" y="14"/>
                    </a:lnTo>
                    <a:lnTo>
                      <a:pt x="102" y="14"/>
                    </a:lnTo>
                    <a:lnTo>
                      <a:pt x="104" y="12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0" y="0"/>
                    </a:lnTo>
                    <a:lnTo>
                      <a:pt x="9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4" name="Freeform 2009">
                <a:extLst>
                  <a:ext uri="{FF2B5EF4-FFF2-40B4-BE49-F238E27FC236}">
                    <a16:creationId xmlns:a16="http://schemas.microsoft.com/office/drawing/2014/main" id="{9D6712E7-0651-46E6-A6A6-BF686E531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1" y="1194619"/>
                <a:ext cx="377825" cy="130175"/>
              </a:xfrm>
              <a:custGeom>
                <a:avLst/>
                <a:gdLst>
                  <a:gd name="T0" fmla="*/ 0 w 238"/>
                  <a:gd name="T1" fmla="*/ 0 h 82"/>
                  <a:gd name="T2" fmla="*/ 0 w 238"/>
                  <a:gd name="T3" fmla="*/ 0 h 82"/>
                  <a:gd name="T4" fmla="*/ 14 w 238"/>
                  <a:gd name="T5" fmla="*/ 12 h 82"/>
                  <a:gd name="T6" fmla="*/ 32 w 238"/>
                  <a:gd name="T7" fmla="*/ 24 h 82"/>
                  <a:gd name="T8" fmla="*/ 54 w 238"/>
                  <a:gd name="T9" fmla="*/ 36 h 82"/>
                  <a:gd name="T10" fmla="*/ 82 w 238"/>
                  <a:gd name="T11" fmla="*/ 50 h 82"/>
                  <a:gd name="T12" fmla="*/ 112 w 238"/>
                  <a:gd name="T13" fmla="*/ 60 h 82"/>
                  <a:gd name="T14" fmla="*/ 144 w 238"/>
                  <a:gd name="T15" fmla="*/ 70 h 82"/>
                  <a:gd name="T16" fmla="*/ 178 w 238"/>
                  <a:gd name="T17" fmla="*/ 78 h 82"/>
                  <a:gd name="T18" fmla="*/ 212 w 238"/>
                  <a:gd name="T19" fmla="*/ 82 h 82"/>
                  <a:gd name="T20" fmla="*/ 212 w 238"/>
                  <a:gd name="T21" fmla="*/ 82 h 82"/>
                  <a:gd name="T22" fmla="*/ 226 w 238"/>
                  <a:gd name="T23" fmla="*/ 82 h 82"/>
                  <a:gd name="T24" fmla="*/ 234 w 238"/>
                  <a:gd name="T25" fmla="*/ 82 h 82"/>
                  <a:gd name="T26" fmla="*/ 238 w 238"/>
                  <a:gd name="T27" fmla="*/ 78 h 82"/>
                  <a:gd name="T28" fmla="*/ 236 w 238"/>
                  <a:gd name="T29" fmla="*/ 74 h 82"/>
                  <a:gd name="T30" fmla="*/ 232 w 238"/>
                  <a:gd name="T31" fmla="*/ 70 h 82"/>
                  <a:gd name="T32" fmla="*/ 226 w 238"/>
                  <a:gd name="T33" fmla="*/ 64 h 82"/>
                  <a:gd name="T34" fmla="*/ 206 w 238"/>
                  <a:gd name="T35" fmla="*/ 50 h 82"/>
                  <a:gd name="T36" fmla="*/ 180 w 238"/>
                  <a:gd name="T37" fmla="*/ 36 h 82"/>
                  <a:gd name="T38" fmla="*/ 152 w 238"/>
                  <a:gd name="T39" fmla="*/ 22 h 82"/>
                  <a:gd name="T40" fmla="*/ 112 w 238"/>
                  <a:gd name="T41" fmla="*/ 4 h 82"/>
                  <a:gd name="T42" fmla="*/ 112 w 238"/>
                  <a:gd name="T43" fmla="*/ 4 h 82"/>
                  <a:gd name="T44" fmla="*/ 106 w 238"/>
                  <a:gd name="T45" fmla="*/ 2 h 82"/>
                  <a:gd name="T46" fmla="*/ 100 w 238"/>
                  <a:gd name="T47" fmla="*/ 0 h 82"/>
                  <a:gd name="T48" fmla="*/ 0 w 238"/>
                  <a:gd name="T4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8" h="82">
                    <a:moveTo>
                      <a:pt x="0" y="0"/>
                    </a:moveTo>
                    <a:lnTo>
                      <a:pt x="0" y="0"/>
                    </a:lnTo>
                    <a:lnTo>
                      <a:pt x="14" y="12"/>
                    </a:lnTo>
                    <a:lnTo>
                      <a:pt x="32" y="24"/>
                    </a:lnTo>
                    <a:lnTo>
                      <a:pt x="54" y="36"/>
                    </a:lnTo>
                    <a:lnTo>
                      <a:pt x="82" y="50"/>
                    </a:lnTo>
                    <a:lnTo>
                      <a:pt x="112" y="60"/>
                    </a:lnTo>
                    <a:lnTo>
                      <a:pt x="144" y="70"/>
                    </a:lnTo>
                    <a:lnTo>
                      <a:pt x="178" y="78"/>
                    </a:lnTo>
                    <a:lnTo>
                      <a:pt x="212" y="82"/>
                    </a:lnTo>
                    <a:lnTo>
                      <a:pt x="212" y="82"/>
                    </a:lnTo>
                    <a:lnTo>
                      <a:pt x="226" y="82"/>
                    </a:lnTo>
                    <a:lnTo>
                      <a:pt x="234" y="82"/>
                    </a:lnTo>
                    <a:lnTo>
                      <a:pt x="238" y="78"/>
                    </a:lnTo>
                    <a:lnTo>
                      <a:pt x="236" y="74"/>
                    </a:lnTo>
                    <a:lnTo>
                      <a:pt x="232" y="70"/>
                    </a:lnTo>
                    <a:lnTo>
                      <a:pt x="226" y="64"/>
                    </a:lnTo>
                    <a:lnTo>
                      <a:pt x="206" y="50"/>
                    </a:lnTo>
                    <a:lnTo>
                      <a:pt x="180" y="36"/>
                    </a:lnTo>
                    <a:lnTo>
                      <a:pt x="152" y="22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5" name="Freeform 2010">
                <a:extLst>
                  <a:ext uri="{FF2B5EF4-FFF2-40B4-BE49-F238E27FC236}">
                    <a16:creationId xmlns:a16="http://schemas.microsoft.com/office/drawing/2014/main" id="{B1E3D59D-3F17-4E7C-9433-83B886ACCE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1" y="1194619"/>
                <a:ext cx="377825" cy="130175"/>
              </a:xfrm>
              <a:custGeom>
                <a:avLst/>
                <a:gdLst>
                  <a:gd name="T0" fmla="*/ 0 w 238"/>
                  <a:gd name="T1" fmla="*/ 0 h 82"/>
                  <a:gd name="T2" fmla="*/ 0 w 238"/>
                  <a:gd name="T3" fmla="*/ 0 h 82"/>
                  <a:gd name="T4" fmla="*/ 14 w 238"/>
                  <a:gd name="T5" fmla="*/ 12 h 82"/>
                  <a:gd name="T6" fmla="*/ 32 w 238"/>
                  <a:gd name="T7" fmla="*/ 24 h 82"/>
                  <a:gd name="T8" fmla="*/ 54 w 238"/>
                  <a:gd name="T9" fmla="*/ 36 h 82"/>
                  <a:gd name="T10" fmla="*/ 82 w 238"/>
                  <a:gd name="T11" fmla="*/ 50 h 82"/>
                  <a:gd name="T12" fmla="*/ 112 w 238"/>
                  <a:gd name="T13" fmla="*/ 60 h 82"/>
                  <a:gd name="T14" fmla="*/ 144 w 238"/>
                  <a:gd name="T15" fmla="*/ 70 h 82"/>
                  <a:gd name="T16" fmla="*/ 178 w 238"/>
                  <a:gd name="T17" fmla="*/ 78 h 82"/>
                  <a:gd name="T18" fmla="*/ 212 w 238"/>
                  <a:gd name="T19" fmla="*/ 82 h 82"/>
                  <a:gd name="T20" fmla="*/ 212 w 238"/>
                  <a:gd name="T21" fmla="*/ 82 h 82"/>
                  <a:gd name="T22" fmla="*/ 226 w 238"/>
                  <a:gd name="T23" fmla="*/ 82 h 82"/>
                  <a:gd name="T24" fmla="*/ 234 w 238"/>
                  <a:gd name="T25" fmla="*/ 82 h 82"/>
                  <a:gd name="T26" fmla="*/ 238 w 238"/>
                  <a:gd name="T27" fmla="*/ 78 h 82"/>
                  <a:gd name="T28" fmla="*/ 236 w 238"/>
                  <a:gd name="T29" fmla="*/ 74 h 82"/>
                  <a:gd name="T30" fmla="*/ 232 w 238"/>
                  <a:gd name="T31" fmla="*/ 70 h 82"/>
                  <a:gd name="T32" fmla="*/ 226 w 238"/>
                  <a:gd name="T33" fmla="*/ 64 h 82"/>
                  <a:gd name="T34" fmla="*/ 206 w 238"/>
                  <a:gd name="T35" fmla="*/ 50 h 82"/>
                  <a:gd name="T36" fmla="*/ 180 w 238"/>
                  <a:gd name="T37" fmla="*/ 36 h 82"/>
                  <a:gd name="T38" fmla="*/ 152 w 238"/>
                  <a:gd name="T39" fmla="*/ 22 h 82"/>
                  <a:gd name="T40" fmla="*/ 112 w 238"/>
                  <a:gd name="T41" fmla="*/ 4 h 82"/>
                  <a:gd name="T42" fmla="*/ 112 w 238"/>
                  <a:gd name="T43" fmla="*/ 4 h 82"/>
                  <a:gd name="T44" fmla="*/ 106 w 238"/>
                  <a:gd name="T45" fmla="*/ 2 h 82"/>
                  <a:gd name="T46" fmla="*/ 100 w 238"/>
                  <a:gd name="T47" fmla="*/ 0 h 82"/>
                  <a:gd name="T48" fmla="*/ 0 w 238"/>
                  <a:gd name="T4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8" h="82">
                    <a:moveTo>
                      <a:pt x="0" y="0"/>
                    </a:moveTo>
                    <a:lnTo>
                      <a:pt x="0" y="0"/>
                    </a:lnTo>
                    <a:lnTo>
                      <a:pt x="14" y="12"/>
                    </a:lnTo>
                    <a:lnTo>
                      <a:pt x="32" y="24"/>
                    </a:lnTo>
                    <a:lnTo>
                      <a:pt x="54" y="36"/>
                    </a:lnTo>
                    <a:lnTo>
                      <a:pt x="82" y="50"/>
                    </a:lnTo>
                    <a:lnTo>
                      <a:pt x="112" y="60"/>
                    </a:lnTo>
                    <a:lnTo>
                      <a:pt x="144" y="70"/>
                    </a:lnTo>
                    <a:lnTo>
                      <a:pt x="178" y="78"/>
                    </a:lnTo>
                    <a:lnTo>
                      <a:pt x="212" y="82"/>
                    </a:lnTo>
                    <a:lnTo>
                      <a:pt x="212" y="82"/>
                    </a:lnTo>
                    <a:lnTo>
                      <a:pt x="226" y="82"/>
                    </a:lnTo>
                    <a:lnTo>
                      <a:pt x="234" y="82"/>
                    </a:lnTo>
                    <a:lnTo>
                      <a:pt x="238" y="78"/>
                    </a:lnTo>
                    <a:lnTo>
                      <a:pt x="236" y="74"/>
                    </a:lnTo>
                    <a:lnTo>
                      <a:pt x="232" y="70"/>
                    </a:lnTo>
                    <a:lnTo>
                      <a:pt x="226" y="64"/>
                    </a:lnTo>
                    <a:lnTo>
                      <a:pt x="206" y="50"/>
                    </a:lnTo>
                    <a:lnTo>
                      <a:pt x="180" y="36"/>
                    </a:lnTo>
                    <a:lnTo>
                      <a:pt x="152" y="22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6" name="Freeform 2011">
                <a:extLst>
                  <a:ext uri="{FF2B5EF4-FFF2-40B4-BE49-F238E27FC236}">
                    <a16:creationId xmlns:a16="http://schemas.microsoft.com/office/drawing/2014/main" id="{8C285110-C983-4DDB-8B99-F3F801F8C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8776" y="1185094"/>
                <a:ext cx="317500" cy="76200"/>
              </a:xfrm>
              <a:custGeom>
                <a:avLst/>
                <a:gdLst>
                  <a:gd name="T0" fmla="*/ 0 w 200"/>
                  <a:gd name="T1" fmla="*/ 18 h 48"/>
                  <a:gd name="T2" fmla="*/ 0 w 200"/>
                  <a:gd name="T3" fmla="*/ 18 h 48"/>
                  <a:gd name="T4" fmla="*/ 12 w 200"/>
                  <a:gd name="T5" fmla="*/ 26 h 48"/>
                  <a:gd name="T6" fmla="*/ 28 w 200"/>
                  <a:gd name="T7" fmla="*/ 32 h 48"/>
                  <a:gd name="T8" fmla="*/ 50 w 200"/>
                  <a:gd name="T9" fmla="*/ 38 h 48"/>
                  <a:gd name="T10" fmla="*/ 72 w 200"/>
                  <a:gd name="T11" fmla="*/ 42 h 48"/>
                  <a:gd name="T12" fmla="*/ 98 w 200"/>
                  <a:gd name="T13" fmla="*/ 46 h 48"/>
                  <a:gd name="T14" fmla="*/ 126 w 200"/>
                  <a:gd name="T15" fmla="*/ 48 h 48"/>
                  <a:gd name="T16" fmla="*/ 154 w 200"/>
                  <a:gd name="T17" fmla="*/ 48 h 48"/>
                  <a:gd name="T18" fmla="*/ 182 w 200"/>
                  <a:gd name="T19" fmla="*/ 44 h 48"/>
                  <a:gd name="T20" fmla="*/ 182 w 200"/>
                  <a:gd name="T21" fmla="*/ 44 h 48"/>
                  <a:gd name="T22" fmla="*/ 192 w 200"/>
                  <a:gd name="T23" fmla="*/ 42 h 48"/>
                  <a:gd name="T24" fmla="*/ 198 w 200"/>
                  <a:gd name="T25" fmla="*/ 40 h 48"/>
                  <a:gd name="T26" fmla="*/ 200 w 200"/>
                  <a:gd name="T27" fmla="*/ 36 h 48"/>
                  <a:gd name="T28" fmla="*/ 200 w 200"/>
                  <a:gd name="T29" fmla="*/ 34 h 48"/>
                  <a:gd name="T30" fmla="*/ 196 w 200"/>
                  <a:gd name="T31" fmla="*/ 30 h 48"/>
                  <a:gd name="T32" fmla="*/ 188 w 200"/>
                  <a:gd name="T33" fmla="*/ 28 h 48"/>
                  <a:gd name="T34" fmla="*/ 170 w 200"/>
                  <a:gd name="T35" fmla="*/ 20 h 48"/>
                  <a:gd name="T36" fmla="*/ 124 w 200"/>
                  <a:gd name="T37" fmla="*/ 8 h 48"/>
                  <a:gd name="T38" fmla="*/ 88 w 200"/>
                  <a:gd name="T39" fmla="*/ 0 h 48"/>
                  <a:gd name="T40" fmla="*/ 88 w 200"/>
                  <a:gd name="T41" fmla="*/ 0 h 48"/>
                  <a:gd name="T42" fmla="*/ 78 w 200"/>
                  <a:gd name="T43" fmla="*/ 0 h 48"/>
                  <a:gd name="T44" fmla="*/ 0 w 200"/>
                  <a:gd name="T45" fmla="*/ 1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" h="48">
                    <a:moveTo>
                      <a:pt x="0" y="18"/>
                    </a:moveTo>
                    <a:lnTo>
                      <a:pt x="0" y="18"/>
                    </a:lnTo>
                    <a:lnTo>
                      <a:pt x="12" y="26"/>
                    </a:lnTo>
                    <a:lnTo>
                      <a:pt x="28" y="32"/>
                    </a:lnTo>
                    <a:lnTo>
                      <a:pt x="50" y="38"/>
                    </a:lnTo>
                    <a:lnTo>
                      <a:pt x="72" y="42"/>
                    </a:lnTo>
                    <a:lnTo>
                      <a:pt x="98" y="46"/>
                    </a:lnTo>
                    <a:lnTo>
                      <a:pt x="126" y="48"/>
                    </a:lnTo>
                    <a:lnTo>
                      <a:pt x="154" y="48"/>
                    </a:lnTo>
                    <a:lnTo>
                      <a:pt x="182" y="44"/>
                    </a:lnTo>
                    <a:lnTo>
                      <a:pt x="182" y="44"/>
                    </a:lnTo>
                    <a:lnTo>
                      <a:pt x="192" y="42"/>
                    </a:lnTo>
                    <a:lnTo>
                      <a:pt x="198" y="40"/>
                    </a:lnTo>
                    <a:lnTo>
                      <a:pt x="200" y="36"/>
                    </a:lnTo>
                    <a:lnTo>
                      <a:pt x="200" y="34"/>
                    </a:lnTo>
                    <a:lnTo>
                      <a:pt x="196" y="30"/>
                    </a:lnTo>
                    <a:lnTo>
                      <a:pt x="188" y="28"/>
                    </a:lnTo>
                    <a:lnTo>
                      <a:pt x="170" y="20"/>
                    </a:lnTo>
                    <a:lnTo>
                      <a:pt x="124" y="8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78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7" name="Freeform 2012">
                <a:extLst>
                  <a:ext uri="{FF2B5EF4-FFF2-40B4-BE49-F238E27FC236}">
                    <a16:creationId xmlns:a16="http://schemas.microsoft.com/office/drawing/2014/main" id="{D1EE90C6-F819-4B2D-B603-EFEFE8B88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8776" y="1185094"/>
                <a:ext cx="317500" cy="76200"/>
              </a:xfrm>
              <a:custGeom>
                <a:avLst/>
                <a:gdLst>
                  <a:gd name="T0" fmla="*/ 0 w 200"/>
                  <a:gd name="T1" fmla="*/ 18 h 48"/>
                  <a:gd name="T2" fmla="*/ 0 w 200"/>
                  <a:gd name="T3" fmla="*/ 18 h 48"/>
                  <a:gd name="T4" fmla="*/ 12 w 200"/>
                  <a:gd name="T5" fmla="*/ 26 h 48"/>
                  <a:gd name="T6" fmla="*/ 28 w 200"/>
                  <a:gd name="T7" fmla="*/ 32 h 48"/>
                  <a:gd name="T8" fmla="*/ 50 w 200"/>
                  <a:gd name="T9" fmla="*/ 38 h 48"/>
                  <a:gd name="T10" fmla="*/ 72 w 200"/>
                  <a:gd name="T11" fmla="*/ 42 h 48"/>
                  <a:gd name="T12" fmla="*/ 98 w 200"/>
                  <a:gd name="T13" fmla="*/ 46 h 48"/>
                  <a:gd name="T14" fmla="*/ 126 w 200"/>
                  <a:gd name="T15" fmla="*/ 48 h 48"/>
                  <a:gd name="T16" fmla="*/ 154 w 200"/>
                  <a:gd name="T17" fmla="*/ 48 h 48"/>
                  <a:gd name="T18" fmla="*/ 182 w 200"/>
                  <a:gd name="T19" fmla="*/ 44 h 48"/>
                  <a:gd name="T20" fmla="*/ 182 w 200"/>
                  <a:gd name="T21" fmla="*/ 44 h 48"/>
                  <a:gd name="T22" fmla="*/ 192 w 200"/>
                  <a:gd name="T23" fmla="*/ 42 h 48"/>
                  <a:gd name="T24" fmla="*/ 198 w 200"/>
                  <a:gd name="T25" fmla="*/ 40 h 48"/>
                  <a:gd name="T26" fmla="*/ 200 w 200"/>
                  <a:gd name="T27" fmla="*/ 36 h 48"/>
                  <a:gd name="T28" fmla="*/ 200 w 200"/>
                  <a:gd name="T29" fmla="*/ 34 h 48"/>
                  <a:gd name="T30" fmla="*/ 196 w 200"/>
                  <a:gd name="T31" fmla="*/ 30 h 48"/>
                  <a:gd name="T32" fmla="*/ 188 w 200"/>
                  <a:gd name="T33" fmla="*/ 28 h 48"/>
                  <a:gd name="T34" fmla="*/ 170 w 200"/>
                  <a:gd name="T35" fmla="*/ 20 h 48"/>
                  <a:gd name="T36" fmla="*/ 124 w 200"/>
                  <a:gd name="T37" fmla="*/ 8 h 48"/>
                  <a:gd name="T38" fmla="*/ 88 w 200"/>
                  <a:gd name="T39" fmla="*/ 0 h 48"/>
                  <a:gd name="T40" fmla="*/ 88 w 200"/>
                  <a:gd name="T41" fmla="*/ 0 h 48"/>
                  <a:gd name="T42" fmla="*/ 78 w 200"/>
                  <a:gd name="T43" fmla="*/ 0 h 48"/>
                  <a:gd name="T44" fmla="*/ 0 w 200"/>
                  <a:gd name="T45" fmla="*/ 1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" h="48">
                    <a:moveTo>
                      <a:pt x="0" y="18"/>
                    </a:moveTo>
                    <a:lnTo>
                      <a:pt x="0" y="18"/>
                    </a:lnTo>
                    <a:lnTo>
                      <a:pt x="12" y="26"/>
                    </a:lnTo>
                    <a:lnTo>
                      <a:pt x="28" y="32"/>
                    </a:lnTo>
                    <a:lnTo>
                      <a:pt x="50" y="38"/>
                    </a:lnTo>
                    <a:lnTo>
                      <a:pt x="72" y="42"/>
                    </a:lnTo>
                    <a:lnTo>
                      <a:pt x="98" y="46"/>
                    </a:lnTo>
                    <a:lnTo>
                      <a:pt x="126" y="48"/>
                    </a:lnTo>
                    <a:lnTo>
                      <a:pt x="154" y="48"/>
                    </a:lnTo>
                    <a:lnTo>
                      <a:pt x="182" y="44"/>
                    </a:lnTo>
                    <a:lnTo>
                      <a:pt x="182" y="44"/>
                    </a:lnTo>
                    <a:lnTo>
                      <a:pt x="192" y="42"/>
                    </a:lnTo>
                    <a:lnTo>
                      <a:pt x="198" y="40"/>
                    </a:lnTo>
                    <a:lnTo>
                      <a:pt x="200" y="36"/>
                    </a:lnTo>
                    <a:lnTo>
                      <a:pt x="200" y="34"/>
                    </a:lnTo>
                    <a:lnTo>
                      <a:pt x="196" y="30"/>
                    </a:lnTo>
                    <a:lnTo>
                      <a:pt x="188" y="28"/>
                    </a:lnTo>
                    <a:lnTo>
                      <a:pt x="170" y="20"/>
                    </a:lnTo>
                    <a:lnTo>
                      <a:pt x="124" y="8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78" y="0"/>
                    </a:lnTo>
                    <a:lnTo>
                      <a:pt x="0" y="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8" name="Freeform 2018">
                <a:extLst>
                  <a:ext uri="{FF2B5EF4-FFF2-40B4-BE49-F238E27FC236}">
                    <a16:creationId xmlns:a16="http://schemas.microsoft.com/office/drawing/2014/main" id="{EF736B9B-E5D4-492A-8C51-8D4B211A2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76" y="1124769"/>
                <a:ext cx="149225" cy="82550"/>
              </a:xfrm>
              <a:custGeom>
                <a:avLst/>
                <a:gdLst>
                  <a:gd name="T0" fmla="*/ 8 w 94"/>
                  <a:gd name="T1" fmla="*/ 0 h 52"/>
                  <a:gd name="T2" fmla="*/ 8 w 94"/>
                  <a:gd name="T3" fmla="*/ 0 h 52"/>
                  <a:gd name="T4" fmla="*/ 4 w 94"/>
                  <a:gd name="T5" fmla="*/ 0 h 52"/>
                  <a:gd name="T6" fmla="*/ 2 w 94"/>
                  <a:gd name="T7" fmla="*/ 2 h 52"/>
                  <a:gd name="T8" fmla="*/ 2 w 94"/>
                  <a:gd name="T9" fmla="*/ 2 h 52"/>
                  <a:gd name="T10" fmla="*/ 0 w 94"/>
                  <a:gd name="T11" fmla="*/ 6 h 52"/>
                  <a:gd name="T12" fmla="*/ 0 w 94"/>
                  <a:gd name="T13" fmla="*/ 8 h 52"/>
                  <a:gd name="T14" fmla="*/ 0 w 94"/>
                  <a:gd name="T15" fmla="*/ 12 h 52"/>
                  <a:gd name="T16" fmla="*/ 2 w 94"/>
                  <a:gd name="T17" fmla="*/ 14 h 52"/>
                  <a:gd name="T18" fmla="*/ 2 w 94"/>
                  <a:gd name="T19" fmla="*/ 14 h 52"/>
                  <a:gd name="T20" fmla="*/ 20 w 94"/>
                  <a:gd name="T21" fmla="*/ 26 h 52"/>
                  <a:gd name="T22" fmla="*/ 20 w 94"/>
                  <a:gd name="T23" fmla="*/ 26 h 52"/>
                  <a:gd name="T24" fmla="*/ 50 w 94"/>
                  <a:gd name="T25" fmla="*/ 44 h 52"/>
                  <a:gd name="T26" fmla="*/ 50 w 94"/>
                  <a:gd name="T27" fmla="*/ 44 h 52"/>
                  <a:gd name="T28" fmla="*/ 50 w 94"/>
                  <a:gd name="T29" fmla="*/ 44 h 52"/>
                  <a:gd name="T30" fmla="*/ 56 w 94"/>
                  <a:gd name="T31" fmla="*/ 46 h 52"/>
                  <a:gd name="T32" fmla="*/ 62 w 94"/>
                  <a:gd name="T33" fmla="*/ 48 h 52"/>
                  <a:gd name="T34" fmla="*/ 62 w 94"/>
                  <a:gd name="T35" fmla="*/ 48 h 52"/>
                  <a:gd name="T36" fmla="*/ 74 w 94"/>
                  <a:gd name="T37" fmla="*/ 52 h 52"/>
                  <a:gd name="T38" fmla="*/ 94 w 94"/>
                  <a:gd name="T39" fmla="*/ 48 h 52"/>
                  <a:gd name="T40" fmla="*/ 94 w 94"/>
                  <a:gd name="T41" fmla="*/ 48 h 52"/>
                  <a:gd name="T42" fmla="*/ 80 w 94"/>
                  <a:gd name="T43" fmla="*/ 42 h 52"/>
                  <a:gd name="T44" fmla="*/ 80 w 94"/>
                  <a:gd name="T45" fmla="*/ 42 h 52"/>
                  <a:gd name="T46" fmla="*/ 42 w 94"/>
                  <a:gd name="T47" fmla="*/ 20 h 52"/>
                  <a:gd name="T48" fmla="*/ 42 w 94"/>
                  <a:gd name="T49" fmla="*/ 20 h 52"/>
                  <a:gd name="T50" fmla="*/ 24 w 94"/>
                  <a:gd name="T51" fmla="*/ 10 h 52"/>
                  <a:gd name="T52" fmla="*/ 24 w 94"/>
                  <a:gd name="T53" fmla="*/ 10 h 52"/>
                  <a:gd name="T54" fmla="*/ 12 w 94"/>
                  <a:gd name="T55" fmla="*/ 2 h 52"/>
                  <a:gd name="T56" fmla="*/ 12 w 94"/>
                  <a:gd name="T57" fmla="*/ 2 h 52"/>
                  <a:gd name="T58" fmla="*/ 8 w 94"/>
                  <a:gd name="T5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4" h="52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6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74" y="52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9" name="Freeform 2019">
                <a:extLst>
                  <a:ext uri="{FF2B5EF4-FFF2-40B4-BE49-F238E27FC236}">
                    <a16:creationId xmlns:a16="http://schemas.microsoft.com/office/drawing/2014/main" id="{86402DF0-53B7-4211-9074-50D8294CB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76" y="1124769"/>
                <a:ext cx="149225" cy="82550"/>
              </a:xfrm>
              <a:custGeom>
                <a:avLst/>
                <a:gdLst>
                  <a:gd name="T0" fmla="*/ 8 w 94"/>
                  <a:gd name="T1" fmla="*/ 0 h 52"/>
                  <a:gd name="T2" fmla="*/ 8 w 94"/>
                  <a:gd name="T3" fmla="*/ 0 h 52"/>
                  <a:gd name="T4" fmla="*/ 4 w 94"/>
                  <a:gd name="T5" fmla="*/ 0 h 52"/>
                  <a:gd name="T6" fmla="*/ 2 w 94"/>
                  <a:gd name="T7" fmla="*/ 2 h 52"/>
                  <a:gd name="T8" fmla="*/ 2 w 94"/>
                  <a:gd name="T9" fmla="*/ 2 h 52"/>
                  <a:gd name="T10" fmla="*/ 0 w 94"/>
                  <a:gd name="T11" fmla="*/ 6 h 52"/>
                  <a:gd name="T12" fmla="*/ 0 w 94"/>
                  <a:gd name="T13" fmla="*/ 8 h 52"/>
                  <a:gd name="T14" fmla="*/ 0 w 94"/>
                  <a:gd name="T15" fmla="*/ 12 h 52"/>
                  <a:gd name="T16" fmla="*/ 2 w 94"/>
                  <a:gd name="T17" fmla="*/ 14 h 52"/>
                  <a:gd name="T18" fmla="*/ 2 w 94"/>
                  <a:gd name="T19" fmla="*/ 14 h 52"/>
                  <a:gd name="T20" fmla="*/ 20 w 94"/>
                  <a:gd name="T21" fmla="*/ 26 h 52"/>
                  <a:gd name="T22" fmla="*/ 20 w 94"/>
                  <a:gd name="T23" fmla="*/ 26 h 52"/>
                  <a:gd name="T24" fmla="*/ 50 w 94"/>
                  <a:gd name="T25" fmla="*/ 44 h 52"/>
                  <a:gd name="T26" fmla="*/ 50 w 94"/>
                  <a:gd name="T27" fmla="*/ 44 h 52"/>
                  <a:gd name="T28" fmla="*/ 50 w 94"/>
                  <a:gd name="T29" fmla="*/ 44 h 52"/>
                  <a:gd name="T30" fmla="*/ 56 w 94"/>
                  <a:gd name="T31" fmla="*/ 46 h 52"/>
                  <a:gd name="T32" fmla="*/ 62 w 94"/>
                  <a:gd name="T33" fmla="*/ 48 h 52"/>
                  <a:gd name="T34" fmla="*/ 62 w 94"/>
                  <a:gd name="T35" fmla="*/ 48 h 52"/>
                  <a:gd name="T36" fmla="*/ 74 w 94"/>
                  <a:gd name="T37" fmla="*/ 52 h 52"/>
                  <a:gd name="T38" fmla="*/ 94 w 94"/>
                  <a:gd name="T39" fmla="*/ 48 h 52"/>
                  <a:gd name="T40" fmla="*/ 94 w 94"/>
                  <a:gd name="T41" fmla="*/ 48 h 52"/>
                  <a:gd name="T42" fmla="*/ 80 w 94"/>
                  <a:gd name="T43" fmla="*/ 42 h 52"/>
                  <a:gd name="T44" fmla="*/ 80 w 94"/>
                  <a:gd name="T45" fmla="*/ 42 h 52"/>
                  <a:gd name="T46" fmla="*/ 42 w 94"/>
                  <a:gd name="T47" fmla="*/ 20 h 52"/>
                  <a:gd name="T48" fmla="*/ 42 w 94"/>
                  <a:gd name="T49" fmla="*/ 20 h 52"/>
                  <a:gd name="T50" fmla="*/ 24 w 94"/>
                  <a:gd name="T51" fmla="*/ 10 h 52"/>
                  <a:gd name="T52" fmla="*/ 24 w 94"/>
                  <a:gd name="T53" fmla="*/ 10 h 52"/>
                  <a:gd name="T54" fmla="*/ 12 w 94"/>
                  <a:gd name="T55" fmla="*/ 2 h 52"/>
                  <a:gd name="T56" fmla="*/ 12 w 94"/>
                  <a:gd name="T57" fmla="*/ 2 h 52"/>
                  <a:gd name="T58" fmla="*/ 8 w 94"/>
                  <a:gd name="T5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4" h="52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6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74" y="52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0" name="Freeform 2020">
                <a:extLst>
                  <a:ext uri="{FF2B5EF4-FFF2-40B4-BE49-F238E27FC236}">
                    <a16:creationId xmlns:a16="http://schemas.microsoft.com/office/drawing/2014/main" id="{7A1C2F2F-1048-4A4F-8513-732B4A39F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79251" y="1194619"/>
                <a:ext cx="38100" cy="15875"/>
              </a:xfrm>
              <a:custGeom>
                <a:avLst/>
                <a:gdLst>
                  <a:gd name="T0" fmla="*/ 0 w 24"/>
                  <a:gd name="T1" fmla="*/ 0 h 10"/>
                  <a:gd name="T2" fmla="*/ 0 w 24"/>
                  <a:gd name="T3" fmla="*/ 0 h 10"/>
                  <a:gd name="T4" fmla="*/ 0 w 24"/>
                  <a:gd name="T5" fmla="*/ 0 h 10"/>
                  <a:gd name="T6" fmla="*/ 10 w 24"/>
                  <a:gd name="T7" fmla="*/ 6 h 10"/>
                  <a:gd name="T8" fmla="*/ 10 w 24"/>
                  <a:gd name="T9" fmla="*/ 6 h 10"/>
                  <a:gd name="T10" fmla="*/ 18 w 24"/>
                  <a:gd name="T11" fmla="*/ 10 h 10"/>
                  <a:gd name="T12" fmla="*/ 24 w 24"/>
                  <a:gd name="T13" fmla="*/ 8 h 10"/>
                  <a:gd name="T14" fmla="*/ 24 w 24"/>
                  <a:gd name="T15" fmla="*/ 8 h 10"/>
                  <a:gd name="T16" fmla="*/ 12 w 24"/>
                  <a:gd name="T17" fmla="*/ 4 h 10"/>
                  <a:gd name="T18" fmla="*/ 12 w 24"/>
                  <a:gd name="T19" fmla="*/ 4 h 10"/>
                  <a:gd name="T20" fmla="*/ 6 w 24"/>
                  <a:gd name="T21" fmla="*/ 2 h 10"/>
                  <a:gd name="T22" fmla="*/ 0 w 24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1" name="Freeform 2021">
                <a:extLst>
                  <a:ext uri="{FF2B5EF4-FFF2-40B4-BE49-F238E27FC236}">
                    <a16:creationId xmlns:a16="http://schemas.microsoft.com/office/drawing/2014/main" id="{4F9D859C-F529-4690-AEB0-863B184D6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79251" y="1194619"/>
                <a:ext cx="38100" cy="15875"/>
              </a:xfrm>
              <a:custGeom>
                <a:avLst/>
                <a:gdLst>
                  <a:gd name="T0" fmla="*/ 0 w 24"/>
                  <a:gd name="T1" fmla="*/ 0 h 10"/>
                  <a:gd name="T2" fmla="*/ 0 w 24"/>
                  <a:gd name="T3" fmla="*/ 0 h 10"/>
                  <a:gd name="T4" fmla="*/ 0 w 24"/>
                  <a:gd name="T5" fmla="*/ 0 h 10"/>
                  <a:gd name="T6" fmla="*/ 10 w 24"/>
                  <a:gd name="T7" fmla="*/ 6 h 10"/>
                  <a:gd name="T8" fmla="*/ 10 w 24"/>
                  <a:gd name="T9" fmla="*/ 6 h 10"/>
                  <a:gd name="T10" fmla="*/ 18 w 24"/>
                  <a:gd name="T11" fmla="*/ 10 h 10"/>
                  <a:gd name="T12" fmla="*/ 24 w 24"/>
                  <a:gd name="T13" fmla="*/ 8 h 10"/>
                  <a:gd name="T14" fmla="*/ 24 w 24"/>
                  <a:gd name="T15" fmla="*/ 8 h 10"/>
                  <a:gd name="T16" fmla="*/ 12 w 24"/>
                  <a:gd name="T17" fmla="*/ 4 h 10"/>
                  <a:gd name="T18" fmla="*/ 12 w 24"/>
                  <a:gd name="T19" fmla="*/ 4 h 10"/>
                  <a:gd name="T20" fmla="*/ 6 w 24"/>
                  <a:gd name="T21" fmla="*/ 2 h 10"/>
                  <a:gd name="T22" fmla="*/ 0 w 24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2" name="Freeform 2022">
                <a:extLst>
                  <a:ext uri="{FF2B5EF4-FFF2-40B4-BE49-F238E27FC236}">
                    <a16:creationId xmlns:a16="http://schemas.microsoft.com/office/drawing/2014/main" id="{4E7E06CC-F38D-4706-B3C2-2CAFFE5D2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07826" y="1200969"/>
                <a:ext cx="60325" cy="28575"/>
              </a:xfrm>
              <a:custGeom>
                <a:avLst/>
                <a:gdLst>
                  <a:gd name="T0" fmla="*/ 26 w 38"/>
                  <a:gd name="T1" fmla="*/ 0 h 18"/>
                  <a:gd name="T2" fmla="*/ 6 w 38"/>
                  <a:gd name="T3" fmla="*/ 4 h 18"/>
                  <a:gd name="T4" fmla="*/ 0 w 38"/>
                  <a:gd name="T5" fmla="*/ 6 h 18"/>
                  <a:gd name="T6" fmla="*/ 0 w 38"/>
                  <a:gd name="T7" fmla="*/ 6 h 18"/>
                  <a:gd name="T8" fmla="*/ 16 w 38"/>
                  <a:gd name="T9" fmla="*/ 14 h 18"/>
                  <a:gd name="T10" fmla="*/ 28 w 38"/>
                  <a:gd name="T11" fmla="*/ 18 h 18"/>
                  <a:gd name="T12" fmla="*/ 28 w 38"/>
                  <a:gd name="T13" fmla="*/ 18 h 18"/>
                  <a:gd name="T14" fmla="*/ 30 w 38"/>
                  <a:gd name="T15" fmla="*/ 18 h 18"/>
                  <a:gd name="T16" fmla="*/ 30 w 38"/>
                  <a:gd name="T17" fmla="*/ 18 h 18"/>
                  <a:gd name="T18" fmla="*/ 34 w 38"/>
                  <a:gd name="T19" fmla="*/ 16 h 18"/>
                  <a:gd name="T20" fmla="*/ 38 w 38"/>
                  <a:gd name="T21" fmla="*/ 12 h 18"/>
                  <a:gd name="T22" fmla="*/ 38 w 38"/>
                  <a:gd name="T23" fmla="*/ 12 h 18"/>
                  <a:gd name="T24" fmla="*/ 38 w 38"/>
                  <a:gd name="T25" fmla="*/ 10 h 18"/>
                  <a:gd name="T26" fmla="*/ 38 w 38"/>
                  <a:gd name="T27" fmla="*/ 6 h 18"/>
                  <a:gd name="T28" fmla="*/ 36 w 38"/>
                  <a:gd name="T29" fmla="*/ 4 h 18"/>
                  <a:gd name="T30" fmla="*/ 32 w 38"/>
                  <a:gd name="T31" fmla="*/ 2 h 18"/>
                  <a:gd name="T32" fmla="*/ 32 w 38"/>
                  <a:gd name="T33" fmla="*/ 2 h 18"/>
                  <a:gd name="T34" fmla="*/ 26 w 38"/>
                  <a:gd name="T3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18">
                    <a:moveTo>
                      <a:pt x="26" y="0"/>
                    </a:moveTo>
                    <a:lnTo>
                      <a:pt x="6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6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3" name="Freeform 2023">
                <a:extLst>
                  <a:ext uri="{FF2B5EF4-FFF2-40B4-BE49-F238E27FC236}">
                    <a16:creationId xmlns:a16="http://schemas.microsoft.com/office/drawing/2014/main" id="{E0E62C29-B9AC-480F-AE7D-3743BB980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07826" y="1200969"/>
                <a:ext cx="60325" cy="28575"/>
              </a:xfrm>
              <a:custGeom>
                <a:avLst/>
                <a:gdLst>
                  <a:gd name="T0" fmla="*/ 26 w 38"/>
                  <a:gd name="T1" fmla="*/ 0 h 18"/>
                  <a:gd name="T2" fmla="*/ 6 w 38"/>
                  <a:gd name="T3" fmla="*/ 4 h 18"/>
                  <a:gd name="T4" fmla="*/ 0 w 38"/>
                  <a:gd name="T5" fmla="*/ 6 h 18"/>
                  <a:gd name="T6" fmla="*/ 0 w 38"/>
                  <a:gd name="T7" fmla="*/ 6 h 18"/>
                  <a:gd name="T8" fmla="*/ 16 w 38"/>
                  <a:gd name="T9" fmla="*/ 14 h 18"/>
                  <a:gd name="T10" fmla="*/ 28 w 38"/>
                  <a:gd name="T11" fmla="*/ 18 h 18"/>
                  <a:gd name="T12" fmla="*/ 28 w 38"/>
                  <a:gd name="T13" fmla="*/ 18 h 18"/>
                  <a:gd name="T14" fmla="*/ 30 w 38"/>
                  <a:gd name="T15" fmla="*/ 18 h 18"/>
                  <a:gd name="T16" fmla="*/ 30 w 38"/>
                  <a:gd name="T17" fmla="*/ 18 h 18"/>
                  <a:gd name="T18" fmla="*/ 34 w 38"/>
                  <a:gd name="T19" fmla="*/ 16 h 18"/>
                  <a:gd name="T20" fmla="*/ 38 w 38"/>
                  <a:gd name="T21" fmla="*/ 12 h 18"/>
                  <a:gd name="T22" fmla="*/ 38 w 38"/>
                  <a:gd name="T23" fmla="*/ 12 h 18"/>
                  <a:gd name="T24" fmla="*/ 38 w 38"/>
                  <a:gd name="T25" fmla="*/ 10 h 18"/>
                  <a:gd name="T26" fmla="*/ 38 w 38"/>
                  <a:gd name="T27" fmla="*/ 6 h 18"/>
                  <a:gd name="T28" fmla="*/ 36 w 38"/>
                  <a:gd name="T29" fmla="*/ 4 h 18"/>
                  <a:gd name="T30" fmla="*/ 32 w 38"/>
                  <a:gd name="T31" fmla="*/ 2 h 18"/>
                  <a:gd name="T32" fmla="*/ 32 w 38"/>
                  <a:gd name="T33" fmla="*/ 2 h 18"/>
                  <a:gd name="T34" fmla="*/ 26 w 38"/>
                  <a:gd name="T3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18">
                    <a:moveTo>
                      <a:pt x="26" y="0"/>
                    </a:moveTo>
                    <a:lnTo>
                      <a:pt x="6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6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4" name="Freeform 2024">
                <a:extLst>
                  <a:ext uri="{FF2B5EF4-FFF2-40B4-BE49-F238E27FC236}">
                    <a16:creationId xmlns:a16="http://schemas.microsoft.com/office/drawing/2014/main" id="{C9098BDA-7F88-487E-89AA-4DA100F7F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8776" y="1096194"/>
                <a:ext cx="254000" cy="101600"/>
              </a:xfrm>
              <a:custGeom>
                <a:avLst/>
                <a:gdLst>
                  <a:gd name="T0" fmla="*/ 8 w 160"/>
                  <a:gd name="T1" fmla="*/ 0 h 64"/>
                  <a:gd name="T2" fmla="*/ 8 w 160"/>
                  <a:gd name="T3" fmla="*/ 0 h 64"/>
                  <a:gd name="T4" fmla="*/ 4 w 160"/>
                  <a:gd name="T5" fmla="*/ 2 h 64"/>
                  <a:gd name="T6" fmla="*/ 2 w 160"/>
                  <a:gd name="T7" fmla="*/ 6 h 64"/>
                  <a:gd name="T8" fmla="*/ 2 w 160"/>
                  <a:gd name="T9" fmla="*/ 6 h 64"/>
                  <a:gd name="T10" fmla="*/ 0 w 160"/>
                  <a:gd name="T11" fmla="*/ 8 h 64"/>
                  <a:gd name="T12" fmla="*/ 0 w 160"/>
                  <a:gd name="T13" fmla="*/ 12 h 64"/>
                  <a:gd name="T14" fmla="*/ 2 w 160"/>
                  <a:gd name="T15" fmla="*/ 14 h 64"/>
                  <a:gd name="T16" fmla="*/ 4 w 160"/>
                  <a:gd name="T17" fmla="*/ 16 h 64"/>
                  <a:gd name="T18" fmla="*/ 4 w 160"/>
                  <a:gd name="T19" fmla="*/ 16 h 64"/>
                  <a:gd name="T20" fmla="*/ 4 w 160"/>
                  <a:gd name="T21" fmla="*/ 16 h 64"/>
                  <a:gd name="T22" fmla="*/ 24 w 160"/>
                  <a:gd name="T23" fmla="*/ 28 h 64"/>
                  <a:gd name="T24" fmla="*/ 56 w 160"/>
                  <a:gd name="T25" fmla="*/ 40 h 64"/>
                  <a:gd name="T26" fmla="*/ 56 w 160"/>
                  <a:gd name="T27" fmla="*/ 40 h 64"/>
                  <a:gd name="T28" fmla="*/ 74 w 160"/>
                  <a:gd name="T29" fmla="*/ 48 h 64"/>
                  <a:gd name="T30" fmla="*/ 96 w 160"/>
                  <a:gd name="T31" fmla="*/ 54 h 64"/>
                  <a:gd name="T32" fmla="*/ 122 w 160"/>
                  <a:gd name="T33" fmla="*/ 60 h 64"/>
                  <a:gd name="T34" fmla="*/ 150 w 160"/>
                  <a:gd name="T35" fmla="*/ 64 h 64"/>
                  <a:gd name="T36" fmla="*/ 150 w 160"/>
                  <a:gd name="T37" fmla="*/ 64 h 64"/>
                  <a:gd name="T38" fmla="*/ 152 w 160"/>
                  <a:gd name="T39" fmla="*/ 64 h 64"/>
                  <a:gd name="T40" fmla="*/ 152 w 160"/>
                  <a:gd name="T41" fmla="*/ 64 h 64"/>
                  <a:gd name="T42" fmla="*/ 158 w 160"/>
                  <a:gd name="T43" fmla="*/ 62 h 64"/>
                  <a:gd name="T44" fmla="*/ 160 w 160"/>
                  <a:gd name="T45" fmla="*/ 56 h 64"/>
                  <a:gd name="T46" fmla="*/ 160 w 160"/>
                  <a:gd name="T47" fmla="*/ 56 h 64"/>
                  <a:gd name="T48" fmla="*/ 160 w 160"/>
                  <a:gd name="T49" fmla="*/ 54 h 64"/>
                  <a:gd name="T50" fmla="*/ 158 w 160"/>
                  <a:gd name="T51" fmla="*/ 50 h 64"/>
                  <a:gd name="T52" fmla="*/ 156 w 160"/>
                  <a:gd name="T53" fmla="*/ 48 h 64"/>
                  <a:gd name="T54" fmla="*/ 154 w 160"/>
                  <a:gd name="T55" fmla="*/ 48 h 64"/>
                  <a:gd name="T56" fmla="*/ 154 w 160"/>
                  <a:gd name="T57" fmla="*/ 48 h 64"/>
                  <a:gd name="T58" fmla="*/ 126 w 160"/>
                  <a:gd name="T59" fmla="*/ 44 h 64"/>
                  <a:gd name="T60" fmla="*/ 100 w 160"/>
                  <a:gd name="T61" fmla="*/ 38 h 64"/>
                  <a:gd name="T62" fmla="*/ 80 w 160"/>
                  <a:gd name="T63" fmla="*/ 32 h 64"/>
                  <a:gd name="T64" fmla="*/ 60 w 160"/>
                  <a:gd name="T65" fmla="*/ 26 h 64"/>
                  <a:gd name="T66" fmla="*/ 60 w 160"/>
                  <a:gd name="T67" fmla="*/ 26 h 64"/>
                  <a:gd name="T68" fmla="*/ 32 w 160"/>
                  <a:gd name="T69" fmla="*/ 12 h 64"/>
                  <a:gd name="T70" fmla="*/ 12 w 160"/>
                  <a:gd name="T71" fmla="*/ 2 h 64"/>
                  <a:gd name="T72" fmla="*/ 12 w 160"/>
                  <a:gd name="T73" fmla="*/ 2 h 64"/>
                  <a:gd name="T74" fmla="*/ 8 w 160"/>
                  <a:gd name="T7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0" h="6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24" y="28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74" y="48"/>
                    </a:lnTo>
                    <a:lnTo>
                      <a:pt x="96" y="54"/>
                    </a:lnTo>
                    <a:lnTo>
                      <a:pt x="122" y="60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52" y="64"/>
                    </a:lnTo>
                    <a:lnTo>
                      <a:pt x="152" y="64"/>
                    </a:lnTo>
                    <a:lnTo>
                      <a:pt x="158" y="62"/>
                    </a:lnTo>
                    <a:lnTo>
                      <a:pt x="160" y="56"/>
                    </a:lnTo>
                    <a:lnTo>
                      <a:pt x="160" y="56"/>
                    </a:lnTo>
                    <a:lnTo>
                      <a:pt x="160" y="54"/>
                    </a:lnTo>
                    <a:lnTo>
                      <a:pt x="158" y="50"/>
                    </a:lnTo>
                    <a:lnTo>
                      <a:pt x="156" y="48"/>
                    </a:lnTo>
                    <a:lnTo>
                      <a:pt x="154" y="48"/>
                    </a:lnTo>
                    <a:lnTo>
                      <a:pt x="154" y="48"/>
                    </a:lnTo>
                    <a:lnTo>
                      <a:pt x="126" y="44"/>
                    </a:lnTo>
                    <a:lnTo>
                      <a:pt x="100" y="38"/>
                    </a:lnTo>
                    <a:lnTo>
                      <a:pt x="80" y="3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32" y="1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5" name="Freeform 2025">
                <a:extLst>
                  <a:ext uri="{FF2B5EF4-FFF2-40B4-BE49-F238E27FC236}">
                    <a16:creationId xmlns:a16="http://schemas.microsoft.com/office/drawing/2014/main" id="{CDDDE363-F69D-4942-A57D-8CD6EA4CE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8776" y="1096194"/>
                <a:ext cx="254000" cy="101600"/>
              </a:xfrm>
              <a:custGeom>
                <a:avLst/>
                <a:gdLst>
                  <a:gd name="T0" fmla="*/ 8 w 160"/>
                  <a:gd name="T1" fmla="*/ 0 h 64"/>
                  <a:gd name="T2" fmla="*/ 8 w 160"/>
                  <a:gd name="T3" fmla="*/ 0 h 64"/>
                  <a:gd name="T4" fmla="*/ 4 w 160"/>
                  <a:gd name="T5" fmla="*/ 2 h 64"/>
                  <a:gd name="T6" fmla="*/ 2 w 160"/>
                  <a:gd name="T7" fmla="*/ 6 h 64"/>
                  <a:gd name="T8" fmla="*/ 2 w 160"/>
                  <a:gd name="T9" fmla="*/ 6 h 64"/>
                  <a:gd name="T10" fmla="*/ 0 w 160"/>
                  <a:gd name="T11" fmla="*/ 8 h 64"/>
                  <a:gd name="T12" fmla="*/ 0 w 160"/>
                  <a:gd name="T13" fmla="*/ 12 h 64"/>
                  <a:gd name="T14" fmla="*/ 2 w 160"/>
                  <a:gd name="T15" fmla="*/ 14 h 64"/>
                  <a:gd name="T16" fmla="*/ 4 w 160"/>
                  <a:gd name="T17" fmla="*/ 16 h 64"/>
                  <a:gd name="T18" fmla="*/ 4 w 160"/>
                  <a:gd name="T19" fmla="*/ 16 h 64"/>
                  <a:gd name="T20" fmla="*/ 4 w 160"/>
                  <a:gd name="T21" fmla="*/ 16 h 64"/>
                  <a:gd name="T22" fmla="*/ 24 w 160"/>
                  <a:gd name="T23" fmla="*/ 28 h 64"/>
                  <a:gd name="T24" fmla="*/ 56 w 160"/>
                  <a:gd name="T25" fmla="*/ 40 h 64"/>
                  <a:gd name="T26" fmla="*/ 56 w 160"/>
                  <a:gd name="T27" fmla="*/ 40 h 64"/>
                  <a:gd name="T28" fmla="*/ 74 w 160"/>
                  <a:gd name="T29" fmla="*/ 48 h 64"/>
                  <a:gd name="T30" fmla="*/ 96 w 160"/>
                  <a:gd name="T31" fmla="*/ 54 h 64"/>
                  <a:gd name="T32" fmla="*/ 122 w 160"/>
                  <a:gd name="T33" fmla="*/ 60 h 64"/>
                  <a:gd name="T34" fmla="*/ 150 w 160"/>
                  <a:gd name="T35" fmla="*/ 64 h 64"/>
                  <a:gd name="T36" fmla="*/ 150 w 160"/>
                  <a:gd name="T37" fmla="*/ 64 h 64"/>
                  <a:gd name="T38" fmla="*/ 152 w 160"/>
                  <a:gd name="T39" fmla="*/ 64 h 64"/>
                  <a:gd name="T40" fmla="*/ 152 w 160"/>
                  <a:gd name="T41" fmla="*/ 64 h 64"/>
                  <a:gd name="T42" fmla="*/ 158 w 160"/>
                  <a:gd name="T43" fmla="*/ 62 h 64"/>
                  <a:gd name="T44" fmla="*/ 160 w 160"/>
                  <a:gd name="T45" fmla="*/ 56 h 64"/>
                  <a:gd name="T46" fmla="*/ 160 w 160"/>
                  <a:gd name="T47" fmla="*/ 56 h 64"/>
                  <a:gd name="T48" fmla="*/ 160 w 160"/>
                  <a:gd name="T49" fmla="*/ 54 h 64"/>
                  <a:gd name="T50" fmla="*/ 158 w 160"/>
                  <a:gd name="T51" fmla="*/ 50 h 64"/>
                  <a:gd name="T52" fmla="*/ 156 w 160"/>
                  <a:gd name="T53" fmla="*/ 48 h 64"/>
                  <a:gd name="T54" fmla="*/ 154 w 160"/>
                  <a:gd name="T55" fmla="*/ 48 h 64"/>
                  <a:gd name="T56" fmla="*/ 154 w 160"/>
                  <a:gd name="T57" fmla="*/ 48 h 64"/>
                  <a:gd name="T58" fmla="*/ 126 w 160"/>
                  <a:gd name="T59" fmla="*/ 44 h 64"/>
                  <a:gd name="T60" fmla="*/ 100 w 160"/>
                  <a:gd name="T61" fmla="*/ 38 h 64"/>
                  <a:gd name="T62" fmla="*/ 80 w 160"/>
                  <a:gd name="T63" fmla="*/ 32 h 64"/>
                  <a:gd name="T64" fmla="*/ 60 w 160"/>
                  <a:gd name="T65" fmla="*/ 26 h 64"/>
                  <a:gd name="T66" fmla="*/ 60 w 160"/>
                  <a:gd name="T67" fmla="*/ 26 h 64"/>
                  <a:gd name="T68" fmla="*/ 32 w 160"/>
                  <a:gd name="T69" fmla="*/ 12 h 64"/>
                  <a:gd name="T70" fmla="*/ 12 w 160"/>
                  <a:gd name="T71" fmla="*/ 2 h 64"/>
                  <a:gd name="T72" fmla="*/ 12 w 160"/>
                  <a:gd name="T73" fmla="*/ 2 h 64"/>
                  <a:gd name="T74" fmla="*/ 8 w 160"/>
                  <a:gd name="T7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0" h="6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24" y="28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74" y="48"/>
                    </a:lnTo>
                    <a:lnTo>
                      <a:pt x="96" y="54"/>
                    </a:lnTo>
                    <a:lnTo>
                      <a:pt x="122" y="60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52" y="64"/>
                    </a:lnTo>
                    <a:lnTo>
                      <a:pt x="152" y="64"/>
                    </a:lnTo>
                    <a:lnTo>
                      <a:pt x="158" y="62"/>
                    </a:lnTo>
                    <a:lnTo>
                      <a:pt x="160" y="56"/>
                    </a:lnTo>
                    <a:lnTo>
                      <a:pt x="160" y="56"/>
                    </a:lnTo>
                    <a:lnTo>
                      <a:pt x="160" y="54"/>
                    </a:lnTo>
                    <a:lnTo>
                      <a:pt x="158" y="50"/>
                    </a:lnTo>
                    <a:lnTo>
                      <a:pt x="156" y="48"/>
                    </a:lnTo>
                    <a:lnTo>
                      <a:pt x="154" y="48"/>
                    </a:lnTo>
                    <a:lnTo>
                      <a:pt x="154" y="48"/>
                    </a:lnTo>
                    <a:lnTo>
                      <a:pt x="126" y="44"/>
                    </a:lnTo>
                    <a:lnTo>
                      <a:pt x="100" y="38"/>
                    </a:lnTo>
                    <a:lnTo>
                      <a:pt x="80" y="3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32" y="1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70" name="Group 669">
              <a:extLst>
                <a:ext uri="{FF2B5EF4-FFF2-40B4-BE49-F238E27FC236}">
                  <a16:creationId xmlns:a16="http://schemas.microsoft.com/office/drawing/2014/main" id="{8752143F-8A1B-4CDE-A249-0408A8117A7F}"/>
                </a:ext>
              </a:extLst>
            </p:cNvPr>
            <p:cNvGrpSpPr/>
            <p:nvPr/>
          </p:nvGrpSpPr>
          <p:grpSpPr>
            <a:xfrm>
              <a:off x="-2047721" y="1681595"/>
              <a:ext cx="804406" cy="301765"/>
              <a:chOff x="9569152" y="5360394"/>
              <a:chExt cx="1152525" cy="431800"/>
            </a:xfrm>
          </p:grpSpPr>
          <p:sp>
            <p:nvSpPr>
              <p:cNvPr id="671" name="Freeform 1939">
                <a:extLst>
                  <a:ext uri="{FF2B5EF4-FFF2-40B4-BE49-F238E27FC236}">
                    <a16:creationId xmlns:a16="http://schemas.microsoft.com/office/drawing/2014/main" id="{28DBA6BE-2879-4443-BE4B-1212CCAE8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69152" y="5382647"/>
                <a:ext cx="1152525" cy="409547"/>
              </a:xfrm>
              <a:custGeom>
                <a:avLst/>
                <a:gdLst>
                  <a:gd name="T0" fmla="*/ 726 w 726"/>
                  <a:gd name="T1" fmla="*/ 272 h 272"/>
                  <a:gd name="T2" fmla="*/ 726 w 726"/>
                  <a:gd name="T3" fmla="*/ 272 h 272"/>
                  <a:gd name="T4" fmla="*/ 0 w 726"/>
                  <a:gd name="T5" fmla="*/ 272 h 272"/>
                  <a:gd name="T6" fmla="*/ 0 w 726"/>
                  <a:gd name="T7" fmla="*/ 272 h 272"/>
                  <a:gd name="T8" fmla="*/ 2 w 726"/>
                  <a:gd name="T9" fmla="*/ 250 h 272"/>
                  <a:gd name="T10" fmla="*/ 8 w 726"/>
                  <a:gd name="T11" fmla="*/ 226 h 272"/>
                  <a:gd name="T12" fmla="*/ 16 w 726"/>
                  <a:gd name="T13" fmla="*/ 202 h 272"/>
                  <a:gd name="T14" fmla="*/ 28 w 726"/>
                  <a:gd name="T15" fmla="*/ 178 h 272"/>
                  <a:gd name="T16" fmla="*/ 44 w 726"/>
                  <a:gd name="T17" fmla="*/ 156 h 272"/>
                  <a:gd name="T18" fmla="*/ 62 w 726"/>
                  <a:gd name="T19" fmla="*/ 132 h 272"/>
                  <a:gd name="T20" fmla="*/ 82 w 726"/>
                  <a:gd name="T21" fmla="*/ 112 h 272"/>
                  <a:gd name="T22" fmla="*/ 106 w 726"/>
                  <a:gd name="T23" fmla="*/ 90 h 272"/>
                  <a:gd name="T24" fmla="*/ 132 w 726"/>
                  <a:gd name="T25" fmla="*/ 72 h 272"/>
                  <a:gd name="T26" fmla="*/ 160 w 726"/>
                  <a:gd name="T27" fmla="*/ 54 h 272"/>
                  <a:gd name="T28" fmla="*/ 190 w 726"/>
                  <a:gd name="T29" fmla="*/ 38 h 272"/>
                  <a:gd name="T30" fmla="*/ 222 w 726"/>
                  <a:gd name="T31" fmla="*/ 24 h 272"/>
                  <a:gd name="T32" fmla="*/ 254 w 726"/>
                  <a:gd name="T33" fmla="*/ 14 h 272"/>
                  <a:gd name="T34" fmla="*/ 290 w 726"/>
                  <a:gd name="T35" fmla="*/ 6 h 272"/>
                  <a:gd name="T36" fmla="*/ 326 w 726"/>
                  <a:gd name="T37" fmla="*/ 0 h 272"/>
                  <a:gd name="T38" fmla="*/ 362 w 726"/>
                  <a:gd name="T39" fmla="*/ 0 h 272"/>
                  <a:gd name="T40" fmla="*/ 362 w 726"/>
                  <a:gd name="T41" fmla="*/ 0 h 272"/>
                  <a:gd name="T42" fmla="*/ 400 w 726"/>
                  <a:gd name="T43" fmla="*/ 0 h 272"/>
                  <a:gd name="T44" fmla="*/ 436 w 726"/>
                  <a:gd name="T45" fmla="*/ 6 h 272"/>
                  <a:gd name="T46" fmla="*/ 470 w 726"/>
                  <a:gd name="T47" fmla="*/ 14 h 272"/>
                  <a:gd name="T48" fmla="*/ 504 w 726"/>
                  <a:gd name="T49" fmla="*/ 24 h 272"/>
                  <a:gd name="T50" fmla="*/ 536 w 726"/>
                  <a:gd name="T51" fmla="*/ 38 h 272"/>
                  <a:gd name="T52" fmla="*/ 566 w 726"/>
                  <a:gd name="T53" fmla="*/ 54 h 272"/>
                  <a:gd name="T54" fmla="*/ 594 w 726"/>
                  <a:gd name="T55" fmla="*/ 72 h 272"/>
                  <a:gd name="T56" fmla="*/ 618 w 726"/>
                  <a:gd name="T57" fmla="*/ 90 h 272"/>
                  <a:gd name="T58" fmla="*/ 642 w 726"/>
                  <a:gd name="T59" fmla="*/ 112 h 272"/>
                  <a:gd name="T60" fmla="*/ 664 w 726"/>
                  <a:gd name="T61" fmla="*/ 132 h 272"/>
                  <a:gd name="T62" fmla="*/ 682 w 726"/>
                  <a:gd name="T63" fmla="*/ 156 h 272"/>
                  <a:gd name="T64" fmla="*/ 696 w 726"/>
                  <a:gd name="T65" fmla="*/ 178 h 272"/>
                  <a:gd name="T66" fmla="*/ 708 w 726"/>
                  <a:gd name="T67" fmla="*/ 202 h 272"/>
                  <a:gd name="T68" fmla="*/ 718 w 726"/>
                  <a:gd name="T69" fmla="*/ 226 h 272"/>
                  <a:gd name="T70" fmla="*/ 724 w 726"/>
                  <a:gd name="T71" fmla="*/ 250 h 272"/>
                  <a:gd name="T72" fmla="*/ 726 w 726"/>
                  <a:gd name="T73" fmla="*/ 272 h 272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490 w 10000"/>
                  <a:gd name="connsiteY18" fmla="*/ 0 h 10000"/>
                  <a:gd name="connsiteX19" fmla="*/ 4986 w 10000"/>
                  <a:gd name="connsiteY19" fmla="*/ 0 h 10000"/>
                  <a:gd name="connsiteX20" fmla="*/ 4986 w 10000"/>
                  <a:gd name="connsiteY20" fmla="*/ 0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883 w 10000"/>
                  <a:gd name="connsiteY18" fmla="*/ 2868 h 10000"/>
                  <a:gd name="connsiteX19" fmla="*/ 4986 w 10000"/>
                  <a:gd name="connsiteY19" fmla="*/ 0 h 10000"/>
                  <a:gd name="connsiteX20" fmla="*/ 4986 w 10000"/>
                  <a:gd name="connsiteY20" fmla="*/ 0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883 w 10000"/>
                  <a:gd name="connsiteY18" fmla="*/ 2868 h 10000"/>
                  <a:gd name="connsiteX19" fmla="*/ 4986 w 10000"/>
                  <a:gd name="connsiteY19" fmla="*/ 0 h 10000"/>
                  <a:gd name="connsiteX20" fmla="*/ 5069 w 10000"/>
                  <a:gd name="connsiteY20" fmla="*/ 2978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10000 h 10000"/>
                  <a:gd name="connsiteX1" fmla="*/ 10000 w 10000"/>
                  <a:gd name="connsiteY1" fmla="*/ 10000 h 10000"/>
                  <a:gd name="connsiteX2" fmla="*/ 0 w 10000"/>
                  <a:gd name="connsiteY2" fmla="*/ 10000 h 10000"/>
                  <a:gd name="connsiteX3" fmla="*/ 0 w 10000"/>
                  <a:gd name="connsiteY3" fmla="*/ 10000 h 10000"/>
                  <a:gd name="connsiteX4" fmla="*/ 28 w 10000"/>
                  <a:gd name="connsiteY4" fmla="*/ 9191 h 10000"/>
                  <a:gd name="connsiteX5" fmla="*/ 110 w 10000"/>
                  <a:gd name="connsiteY5" fmla="*/ 8309 h 10000"/>
                  <a:gd name="connsiteX6" fmla="*/ 220 w 10000"/>
                  <a:gd name="connsiteY6" fmla="*/ 7426 h 10000"/>
                  <a:gd name="connsiteX7" fmla="*/ 386 w 10000"/>
                  <a:gd name="connsiteY7" fmla="*/ 6544 h 10000"/>
                  <a:gd name="connsiteX8" fmla="*/ 606 w 10000"/>
                  <a:gd name="connsiteY8" fmla="*/ 5735 h 10000"/>
                  <a:gd name="connsiteX9" fmla="*/ 854 w 10000"/>
                  <a:gd name="connsiteY9" fmla="*/ 4853 h 10000"/>
                  <a:gd name="connsiteX10" fmla="*/ 1129 w 10000"/>
                  <a:gd name="connsiteY10" fmla="*/ 4118 h 10000"/>
                  <a:gd name="connsiteX11" fmla="*/ 1460 w 10000"/>
                  <a:gd name="connsiteY11" fmla="*/ 3309 h 10000"/>
                  <a:gd name="connsiteX12" fmla="*/ 1818 w 10000"/>
                  <a:gd name="connsiteY12" fmla="*/ 2647 h 10000"/>
                  <a:gd name="connsiteX13" fmla="*/ 2204 w 10000"/>
                  <a:gd name="connsiteY13" fmla="*/ 1985 h 10000"/>
                  <a:gd name="connsiteX14" fmla="*/ 2617 w 10000"/>
                  <a:gd name="connsiteY14" fmla="*/ 1397 h 10000"/>
                  <a:gd name="connsiteX15" fmla="*/ 3058 w 10000"/>
                  <a:gd name="connsiteY15" fmla="*/ 882 h 10000"/>
                  <a:gd name="connsiteX16" fmla="*/ 3499 w 10000"/>
                  <a:gd name="connsiteY16" fmla="*/ 515 h 10000"/>
                  <a:gd name="connsiteX17" fmla="*/ 4738 w 10000"/>
                  <a:gd name="connsiteY17" fmla="*/ 3034 h 10000"/>
                  <a:gd name="connsiteX18" fmla="*/ 4883 w 10000"/>
                  <a:gd name="connsiteY18" fmla="*/ 2868 h 10000"/>
                  <a:gd name="connsiteX19" fmla="*/ 5007 w 10000"/>
                  <a:gd name="connsiteY19" fmla="*/ 2482 h 10000"/>
                  <a:gd name="connsiteX20" fmla="*/ 5069 w 10000"/>
                  <a:gd name="connsiteY20" fmla="*/ 2978 h 10000"/>
                  <a:gd name="connsiteX21" fmla="*/ 5510 w 10000"/>
                  <a:gd name="connsiteY21" fmla="*/ 0 h 10000"/>
                  <a:gd name="connsiteX22" fmla="*/ 6006 w 10000"/>
                  <a:gd name="connsiteY22" fmla="*/ 221 h 10000"/>
                  <a:gd name="connsiteX23" fmla="*/ 6474 w 10000"/>
                  <a:gd name="connsiteY23" fmla="*/ 515 h 10000"/>
                  <a:gd name="connsiteX24" fmla="*/ 6942 w 10000"/>
                  <a:gd name="connsiteY24" fmla="*/ 882 h 10000"/>
                  <a:gd name="connsiteX25" fmla="*/ 7383 w 10000"/>
                  <a:gd name="connsiteY25" fmla="*/ 1397 h 10000"/>
                  <a:gd name="connsiteX26" fmla="*/ 7796 w 10000"/>
                  <a:gd name="connsiteY26" fmla="*/ 1985 h 10000"/>
                  <a:gd name="connsiteX27" fmla="*/ 8182 w 10000"/>
                  <a:gd name="connsiteY27" fmla="*/ 2647 h 10000"/>
                  <a:gd name="connsiteX28" fmla="*/ 8512 w 10000"/>
                  <a:gd name="connsiteY28" fmla="*/ 3309 h 10000"/>
                  <a:gd name="connsiteX29" fmla="*/ 8843 w 10000"/>
                  <a:gd name="connsiteY29" fmla="*/ 4118 h 10000"/>
                  <a:gd name="connsiteX30" fmla="*/ 9146 w 10000"/>
                  <a:gd name="connsiteY30" fmla="*/ 4853 h 10000"/>
                  <a:gd name="connsiteX31" fmla="*/ 9394 w 10000"/>
                  <a:gd name="connsiteY31" fmla="*/ 5735 h 10000"/>
                  <a:gd name="connsiteX32" fmla="*/ 9587 w 10000"/>
                  <a:gd name="connsiteY32" fmla="*/ 6544 h 10000"/>
                  <a:gd name="connsiteX33" fmla="*/ 9752 w 10000"/>
                  <a:gd name="connsiteY33" fmla="*/ 7426 h 10000"/>
                  <a:gd name="connsiteX34" fmla="*/ 9890 w 10000"/>
                  <a:gd name="connsiteY34" fmla="*/ 8309 h 10000"/>
                  <a:gd name="connsiteX35" fmla="*/ 9972 w 10000"/>
                  <a:gd name="connsiteY35" fmla="*/ 9191 h 10000"/>
                  <a:gd name="connsiteX36" fmla="*/ 10000 w 10000"/>
                  <a:gd name="connsiteY36" fmla="*/ 10000 h 10000"/>
                  <a:gd name="connsiteX0" fmla="*/ 10000 w 10000"/>
                  <a:gd name="connsiteY0" fmla="*/ 9779 h 9779"/>
                  <a:gd name="connsiteX1" fmla="*/ 10000 w 10000"/>
                  <a:gd name="connsiteY1" fmla="*/ 9779 h 9779"/>
                  <a:gd name="connsiteX2" fmla="*/ 0 w 10000"/>
                  <a:gd name="connsiteY2" fmla="*/ 9779 h 9779"/>
                  <a:gd name="connsiteX3" fmla="*/ 0 w 10000"/>
                  <a:gd name="connsiteY3" fmla="*/ 9779 h 9779"/>
                  <a:gd name="connsiteX4" fmla="*/ 28 w 10000"/>
                  <a:gd name="connsiteY4" fmla="*/ 8970 h 9779"/>
                  <a:gd name="connsiteX5" fmla="*/ 110 w 10000"/>
                  <a:gd name="connsiteY5" fmla="*/ 8088 h 9779"/>
                  <a:gd name="connsiteX6" fmla="*/ 220 w 10000"/>
                  <a:gd name="connsiteY6" fmla="*/ 7205 h 9779"/>
                  <a:gd name="connsiteX7" fmla="*/ 386 w 10000"/>
                  <a:gd name="connsiteY7" fmla="*/ 6323 h 9779"/>
                  <a:gd name="connsiteX8" fmla="*/ 606 w 10000"/>
                  <a:gd name="connsiteY8" fmla="*/ 5514 h 9779"/>
                  <a:gd name="connsiteX9" fmla="*/ 854 w 10000"/>
                  <a:gd name="connsiteY9" fmla="*/ 4632 h 9779"/>
                  <a:gd name="connsiteX10" fmla="*/ 1129 w 10000"/>
                  <a:gd name="connsiteY10" fmla="*/ 3897 h 9779"/>
                  <a:gd name="connsiteX11" fmla="*/ 1460 w 10000"/>
                  <a:gd name="connsiteY11" fmla="*/ 3088 h 9779"/>
                  <a:gd name="connsiteX12" fmla="*/ 1818 w 10000"/>
                  <a:gd name="connsiteY12" fmla="*/ 2426 h 9779"/>
                  <a:gd name="connsiteX13" fmla="*/ 2204 w 10000"/>
                  <a:gd name="connsiteY13" fmla="*/ 1764 h 9779"/>
                  <a:gd name="connsiteX14" fmla="*/ 2617 w 10000"/>
                  <a:gd name="connsiteY14" fmla="*/ 1176 h 9779"/>
                  <a:gd name="connsiteX15" fmla="*/ 3058 w 10000"/>
                  <a:gd name="connsiteY15" fmla="*/ 661 h 9779"/>
                  <a:gd name="connsiteX16" fmla="*/ 3499 w 10000"/>
                  <a:gd name="connsiteY16" fmla="*/ 294 h 9779"/>
                  <a:gd name="connsiteX17" fmla="*/ 4738 w 10000"/>
                  <a:gd name="connsiteY17" fmla="*/ 2813 h 9779"/>
                  <a:gd name="connsiteX18" fmla="*/ 4883 w 10000"/>
                  <a:gd name="connsiteY18" fmla="*/ 2647 h 9779"/>
                  <a:gd name="connsiteX19" fmla="*/ 5007 w 10000"/>
                  <a:gd name="connsiteY19" fmla="*/ 2261 h 9779"/>
                  <a:gd name="connsiteX20" fmla="*/ 5069 w 10000"/>
                  <a:gd name="connsiteY20" fmla="*/ 2757 h 9779"/>
                  <a:gd name="connsiteX21" fmla="*/ 5179 w 10000"/>
                  <a:gd name="connsiteY21" fmla="*/ 3033 h 9779"/>
                  <a:gd name="connsiteX22" fmla="*/ 6006 w 10000"/>
                  <a:gd name="connsiteY22" fmla="*/ 0 h 9779"/>
                  <a:gd name="connsiteX23" fmla="*/ 6474 w 10000"/>
                  <a:gd name="connsiteY23" fmla="*/ 294 h 9779"/>
                  <a:gd name="connsiteX24" fmla="*/ 6942 w 10000"/>
                  <a:gd name="connsiteY24" fmla="*/ 661 h 9779"/>
                  <a:gd name="connsiteX25" fmla="*/ 7383 w 10000"/>
                  <a:gd name="connsiteY25" fmla="*/ 1176 h 9779"/>
                  <a:gd name="connsiteX26" fmla="*/ 7796 w 10000"/>
                  <a:gd name="connsiteY26" fmla="*/ 1764 h 9779"/>
                  <a:gd name="connsiteX27" fmla="*/ 8182 w 10000"/>
                  <a:gd name="connsiteY27" fmla="*/ 2426 h 9779"/>
                  <a:gd name="connsiteX28" fmla="*/ 8512 w 10000"/>
                  <a:gd name="connsiteY28" fmla="*/ 3088 h 9779"/>
                  <a:gd name="connsiteX29" fmla="*/ 8843 w 10000"/>
                  <a:gd name="connsiteY29" fmla="*/ 3897 h 9779"/>
                  <a:gd name="connsiteX30" fmla="*/ 9146 w 10000"/>
                  <a:gd name="connsiteY30" fmla="*/ 4632 h 9779"/>
                  <a:gd name="connsiteX31" fmla="*/ 9394 w 10000"/>
                  <a:gd name="connsiteY31" fmla="*/ 5514 h 9779"/>
                  <a:gd name="connsiteX32" fmla="*/ 9587 w 10000"/>
                  <a:gd name="connsiteY32" fmla="*/ 6323 h 9779"/>
                  <a:gd name="connsiteX33" fmla="*/ 9752 w 10000"/>
                  <a:gd name="connsiteY33" fmla="*/ 7205 h 9779"/>
                  <a:gd name="connsiteX34" fmla="*/ 9890 w 10000"/>
                  <a:gd name="connsiteY34" fmla="*/ 8088 h 9779"/>
                  <a:gd name="connsiteX35" fmla="*/ 9972 w 10000"/>
                  <a:gd name="connsiteY35" fmla="*/ 8970 h 9779"/>
                  <a:gd name="connsiteX36" fmla="*/ 10000 w 10000"/>
                  <a:gd name="connsiteY36" fmla="*/ 9779 h 9779"/>
                  <a:gd name="connsiteX0" fmla="*/ 10000 w 10000"/>
                  <a:gd name="connsiteY0" fmla="*/ 9699 h 9699"/>
                  <a:gd name="connsiteX1" fmla="*/ 10000 w 10000"/>
                  <a:gd name="connsiteY1" fmla="*/ 9699 h 9699"/>
                  <a:gd name="connsiteX2" fmla="*/ 0 w 10000"/>
                  <a:gd name="connsiteY2" fmla="*/ 9699 h 9699"/>
                  <a:gd name="connsiteX3" fmla="*/ 0 w 10000"/>
                  <a:gd name="connsiteY3" fmla="*/ 9699 h 9699"/>
                  <a:gd name="connsiteX4" fmla="*/ 28 w 10000"/>
                  <a:gd name="connsiteY4" fmla="*/ 8872 h 9699"/>
                  <a:gd name="connsiteX5" fmla="*/ 110 w 10000"/>
                  <a:gd name="connsiteY5" fmla="*/ 7970 h 9699"/>
                  <a:gd name="connsiteX6" fmla="*/ 220 w 10000"/>
                  <a:gd name="connsiteY6" fmla="*/ 7067 h 9699"/>
                  <a:gd name="connsiteX7" fmla="*/ 386 w 10000"/>
                  <a:gd name="connsiteY7" fmla="*/ 6165 h 9699"/>
                  <a:gd name="connsiteX8" fmla="*/ 606 w 10000"/>
                  <a:gd name="connsiteY8" fmla="*/ 5338 h 9699"/>
                  <a:gd name="connsiteX9" fmla="*/ 854 w 10000"/>
                  <a:gd name="connsiteY9" fmla="*/ 4436 h 9699"/>
                  <a:gd name="connsiteX10" fmla="*/ 1129 w 10000"/>
                  <a:gd name="connsiteY10" fmla="*/ 3684 h 9699"/>
                  <a:gd name="connsiteX11" fmla="*/ 1460 w 10000"/>
                  <a:gd name="connsiteY11" fmla="*/ 2857 h 9699"/>
                  <a:gd name="connsiteX12" fmla="*/ 1818 w 10000"/>
                  <a:gd name="connsiteY12" fmla="*/ 2180 h 9699"/>
                  <a:gd name="connsiteX13" fmla="*/ 2204 w 10000"/>
                  <a:gd name="connsiteY13" fmla="*/ 1503 h 9699"/>
                  <a:gd name="connsiteX14" fmla="*/ 2617 w 10000"/>
                  <a:gd name="connsiteY14" fmla="*/ 902 h 9699"/>
                  <a:gd name="connsiteX15" fmla="*/ 3058 w 10000"/>
                  <a:gd name="connsiteY15" fmla="*/ 375 h 9699"/>
                  <a:gd name="connsiteX16" fmla="*/ 3499 w 10000"/>
                  <a:gd name="connsiteY16" fmla="*/ 0 h 9699"/>
                  <a:gd name="connsiteX17" fmla="*/ 4738 w 10000"/>
                  <a:gd name="connsiteY17" fmla="*/ 2576 h 9699"/>
                  <a:gd name="connsiteX18" fmla="*/ 4883 w 10000"/>
                  <a:gd name="connsiteY18" fmla="*/ 2406 h 9699"/>
                  <a:gd name="connsiteX19" fmla="*/ 5007 w 10000"/>
                  <a:gd name="connsiteY19" fmla="*/ 2011 h 9699"/>
                  <a:gd name="connsiteX20" fmla="*/ 5069 w 10000"/>
                  <a:gd name="connsiteY20" fmla="*/ 2518 h 9699"/>
                  <a:gd name="connsiteX21" fmla="*/ 5179 w 10000"/>
                  <a:gd name="connsiteY21" fmla="*/ 2801 h 9699"/>
                  <a:gd name="connsiteX22" fmla="*/ 5944 w 10000"/>
                  <a:gd name="connsiteY22" fmla="*/ 1278 h 9699"/>
                  <a:gd name="connsiteX23" fmla="*/ 6474 w 10000"/>
                  <a:gd name="connsiteY23" fmla="*/ 0 h 9699"/>
                  <a:gd name="connsiteX24" fmla="*/ 6942 w 10000"/>
                  <a:gd name="connsiteY24" fmla="*/ 375 h 9699"/>
                  <a:gd name="connsiteX25" fmla="*/ 7383 w 10000"/>
                  <a:gd name="connsiteY25" fmla="*/ 902 h 9699"/>
                  <a:gd name="connsiteX26" fmla="*/ 7796 w 10000"/>
                  <a:gd name="connsiteY26" fmla="*/ 1503 h 9699"/>
                  <a:gd name="connsiteX27" fmla="*/ 8182 w 10000"/>
                  <a:gd name="connsiteY27" fmla="*/ 2180 h 9699"/>
                  <a:gd name="connsiteX28" fmla="*/ 8512 w 10000"/>
                  <a:gd name="connsiteY28" fmla="*/ 2857 h 9699"/>
                  <a:gd name="connsiteX29" fmla="*/ 8843 w 10000"/>
                  <a:gd name="connsiteY29" fmla="*/ 3684 h 9699"/>
                  <a:gd name="connsiteX30" fmla="*/ 9146 w 10000"/>
                  <a:gd name="connsiteY30" fmla="*/ 4436 h 9699"/>
                  <a:gd name="connsiteX31" fmla="*/ 9394 w 10000"/>
                  <a:gd name="connsiteY31" fmla="*/ 5338 h 9699"/>
                  <a:gd name="connsiteX32" fmla="*/ 9587 w 10000"/>
                  <a:gd name="connsiteY32" fmla="*/ 6165 h 9699"/>
                  <a:gd name="connsiteX33" fmla="*/ 9752 w 10000"/>
                  <a:gd name="connsiteY33" fmla="*/ 7067 h 9699"/>
                  <a:gd name="connsiteX34" fmla="*/ 9890 w 10000"/>
                  <a:gd name="connsiteY34" fmla="*/ 7970 h 9699"/>
                  <a:gd name="connsiteX35" fmla="*/ 9972 w 10000"/>
                  <a:gd name="connsiteY35" fmla="*/ 8872 h 9699"/>
                  <a:gd name="connsiteX36" fmla="*/ 10000 w 10000"/>
                  <a:gd name="connsiteY36" fmla="*/ 9699 h 9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0000" h="9699">
                    <a:moveTo>
                      <a:pt x="10000" y="9699"/>
                    </a:moveTo>
                    <a:lnTo>
                      <a:pt x="10000" y="9699"/>
                    </a:lnTo>
                    <a:lnTo>
                      <a:pt x="0" y="9699"/>
                    </a:lnTo>
                    <a:lnTo>
                      <a:pt x="0" y="9699"/>
                    </a:lnTo>
                    <a:cubicBezTo>
                      <a:pt x="9" y="9423"/>
                      <a:pt x="19" y="9148"/>
                      <a:pt x="28" y="8872"/>
                    </a:cubicBezTo>
                    <a:cubicBezTo>
                      <a:pt x="55" y="8571"/>
                      <a:pt x="83" y="8270"/>
                      <a:pt x="110" y="7970"/>
                    </a:cubicBezTo>
                    <a:cubicBezTo>
                      <a:pt x="147" y="7669"/>
                      <a:pt x="183" y="7367"/>
                      <a:pt x="220" y="7067"/>
                    </a:cubicBezTo>
                    <a:cubicBezTo>
                      <a:pt x="275" y="6766"/>
                      <a:pt x="331" y="6466"/>
                      <a:pt x="386" y="6165"/>
                    </a:cubicBezTo>
                    <a:cubicBezTo>
                      <a:pt x="459" y="5889"/>
                      <a:pt x="533" y="5614"/>
                      <a:pt x="606" y="5338"/>
                    </a:cubicBezTo>
                    <a:cubicBezTo>
                      <a:pt x="689" y="5037"/>
                      <a:pt x="771" y="4736"/>
                      <a:pt x="854" y="4436"/>
                    </a:cubicBezTo>
                    <a:lnTo>
                      <a:pt x="1129" y="3684"/>
                    </a:lnTo>
                    <a:cubicBezTo>
                      <a:pt x="1239" y="3408"/>
                      <a:pt x="1350" y="3133"/>
                      <a:pt x="1460" y="2857"/>
                    </a:cubicBezTo>
                    <a:lnTo>
                      <a:pt x="1818" y="2180"/>
                    </a:lnTo>
                    <a:lnTo>
                      <a:pt x="2204" y="1503"/>
                    </a:lnTo>
                    <a:lnTo>
                      <a:pt x="2617" y="902"/>
                    </a:lnTo>
                    <a:lnTo>
                      <a:pt x="3058" y="375"/>
                    </a:lnTo>
                    <a:lnTo>
                      <a:pt x="3499" y="0"/>
                    </a:lnTo>
                    <a:lnTo>
                      <a:pt x="4738" y="2576"/>
                    </a:lnTo>
                    <a:cubicBezTo>
                      <a:pt x="4655" y="1542"/>
                      <a:pt x="4966" y="3440"/>
                      <a:pt x="4883" y="2406"/>
                    </a:cubicBezTo>
                    <a:cubicBezTo>
                      <a:pt x="4917" y="1428"/>
                      <a:pt x="4973" y="2989"/>
                      <a:pt x="5007" y="2011"/>
                    </a:cubicBezTo>
                    <a:cubicBezTo>
                      <a:pt x="5035" y="3027"/>
                      <a:pt x="5041" y="1503"/>
                      <a:pt x="5069" y="2518"/>
                    </a:cubicBezTo>
                    <a:cubicBezTo>
                      <a:pt x="5106" y="2612"/>
                      <a:pt x="5142" y="2706"/>
                      <a:pt x="5179" y="2801"/>
                    </a:cubicBezTo>
                    <a:lnTo>
                      <a:pt x="5944" y="1278"/>
                    </a:lnTo>
                    <a:lnTo>
                      <a:pt x="6474" y="0"/>
                    </a:lnTo>
                    <a:lnTo>
                      <a:pt x="6942" y="375"/>
                    </a:lnTo>
                    <a:lnTo>
                      <a:pt x="7383" y="902"/>
                    </a:lnTo>
                    <a:lnTo>
                      <a:pt x="7796" y="1503"/>
                    </a:lnTo>
                    <a:lnTo>
                      <a:pt x="8182" y="2180"/>
                    </a:lnTo>
                    <a:lnTo>
                      <a:pt x="8512" y="2857"/>
                    </a:lnTo>
                    <a:cubicBezTo>
                      <a:pt x="8622" y="3133"/>
                      <a:pt x="8733" y="3408"/>
                      <a:pt x="8843" y="3684"/>
                    </a:cubicBezTo>
                    <a:lnTo>
                      <a:pt x="9146" y="4436"/>
                    </a:lnTo>
                    <a:cubicBezTo>
                      <a:pt x="9229" y="4736"/>
                      <a:pt x="9311" y="5037"/>
                      <a:pt x="9394" y="5338"/>
                    </a:cubicBezTo>
                    <a:cubicBezTo>
                      <a:pt x="9458" y="5614"/>
                      <a:pt x="9523" y="5889"/>
                      <a:pt x="9587" y="6165"/>
                    </a:cubicBezTo>
                    <a:lnTo>
                      <a:pt x="9752" y="7067"/>
                    </a:lnTo>
                    <a:lnTo>
                      <a:pt x="9890" y="7970"/>
                    </a:lnTo>
                    <a:cubicBezTo>
                      <a:pt x="9917" y="8270"/>
                      <a:pt x="9945" y="8571"/>
                      <a:pt x="9972" y="8872"/>
                    </a:cubicBezTo>
                    <a:cubicBezTo>
                      <a:pt x="9981" y="9148"/>
                      <a:pt x="9991" y="9423"/>
                      <a:pt x="10000" y="9699"/>
                    </a:cubicBezTo>
                    <a:close/>
                  </a:path>
                </a:pathLst>
              </a:custGeom>
              <a:solidFill>
                <a:srgbClr val="B1D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2" name="Freeform 1940">
                <a:extLst>
                  <a:ext uri="{FF2B5EF4-FFF2-40B4-BE49-F238E27FC236}">
                    <a16:creationId xmlns:a16="http://schemas.microsoft.com/office/drawing/2014/main" id="{B2F6350F-953A-4031-A632-1127DB39E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69152" y="5360394"/>
                <a:ext cx="1152525" cy="431800"/>
              </a:xfrm>
              <a:custGeom>
                <a:avLst/>
                <a:gdLst>
                  <a:gd name="T0" fmla="*/ 726 w 726"/>
                  <a:gd name="T1" fmla="*/ 272 h 272"/>
                  <a:gd name="T2" fmla="*/ 726 w 726"/>
                  <a:gd name="T3" fmla="*/ 272 h 272"/>
                  <a:gd name="T4" fmla="*/ 0 w 726"/>
                  <a:gd name="T5" fmla="*/ 272 h 272"/>
                  <a:gd name="T6" fmla="*/ 0 w 726"/>
                  <a:gd name="T7" fmla="*/ 272 h 272"/>
                  <a:gd name="T8" fmla="*/ 2 w 726"/>
                  <a:gd name="T9" fmla="*/ 250 h 272"/>
                  <a:gd name="T10" fmla="*/ 8 w 726"/>
                  <a:gd name="T11" fmla="*/ 226 h 272"/>
                  <a:gd name="T12" fmla="*/ 16 w 726"/>
                  <a:gd name="T13" fmla="*/ 202 h 272"/>
                  <a:gd name="T14" fmla="*/ 28 w 726"/>
                  <a:gd name="T15" fmla="*/ 178 h 272"/>
                  <a:gd name="T16" fmla="*/ 44 w 726"/>
                  <a:gd name="T17" fmla="*/ 156 h 272"/>
                  <a:gd name="T18" fmla="*/ 62 w 726"/>
                  <a:gd name="T19" fmla="*/ 132 h 272"/>
                  <a:gd name="T20" fmla="*/ 82 w 726"/>
                  <a:gd name="T21" fmla="*/ 112 h 272"/>
                  <a:gd name="T22" fmla="*/ 106 w 726"/>
                  <a:gd name="T23" fmla="*/ 90 h 272"/>
                  <a:gd name="T24" fmla="*/ 132 w 726"/>
                  <a:gd name="T25" fmla="*/ 72 h 272"/>
                  <a:gd name="T26" fmla="*/ 160 w 726"/>
                  <a:gd name="T27" fmla="*/ 54 h 272"/>
                  <a:gd name="T28" fmla="*/ 190 w 726"/>
                  <a:gd name="T29" fmla="*/ 38 h 272"/>
                  <a:gd name="T30" fmla="*/ 222 w 726"/>
                  <a:gd name="T31" fmla="*/ 24 h 272"/>
                  <a:gd name="T32" fmla="*/ 254 w 726"/>
                  <a:gd name="T33" fmla="*/ 14 h 272"/>
                  <a:gd name="T34" fmla="*/ 290 w 726"/>
                  <a:gd name="T35" fmla="*/ 6 h 272"/>
                  <a:gd name="T36" fmla="*/ 326 w 726"/>
                  <a:gd name="T37" fmla="*/ 0 h 272"/>
                  <a:gd name="T38" fmla="*/ 362 w 726"/>
                  <a:gd name="T39" fmla="*/ 0 h 272"/>
                  <a:gd name="T40" fmla="*/ 362 w 726"/>
                  <a:gd name="T41" fmla="*/ 0 h 272"/>
                  <a:gd name="T42" fmla="*/ 400 w 726"/>
                  <a:gd name="T43" fmla="*/ 0 h 272"/>
                  <a:gd name="T44" fmla="*/ 436 w 726"/>
                  <a:gd name="T45" fmla="*/ 6 h 272"/>
                  <a:gd name="T46" fmla="*/ 470 w 726"/>
                  <a:gd name="T47" fmla="*/ 14 h 272"/>
                  <a:gd name="T48" fmla="*/ 504 w 726"/>
                  <a:gd name="T49" fmla="*/ 24 h 272"/>
                  <a:gd name="T50" fmla="*/ 536 w 726"/>
                  <a:gd name="T51" fmla="*/ 38 h 272"/>
                  <a:gd name="T52" fmla="*/ 566 w 726"/>
                  <a:gd name="T53" fmla="*/ 54 h 272"/>
                  <a:gd name="T54" fmla="*/ 594 w 726"/>
                  <a:gd name="T55" fmla="*/ 72 h 272"/>
                  <a:gd name="T56" fmla="*/ 618 w 726"/>
                  <a:gd name="T57" fmla="*/ 90 h 272"/>
                  <a:gd name="T58" fmla="*/ 642 w 726"/>
                  <a:gd name="T59" fmla="*/ 112 h 272"/>
                  <a:gd name="T60" fmla="*/ 664 w 726"/>
                  <a:gd name="T61" fmla="*/ 132 h 272"/>
                  <a:gd name="T62" fmla="*/ 682 w 726"/>
                  <a:gd name="T63" fmla="*/ 156 h 272"/>
                  <a:gd name="T64" fmla="*/ 696 w 726"/>
                  <a:gd name="T65" fmla="*/ 178 h 272"/>
                  <a:gd name="T66" fmla="*/ 708 w 726"/>
                  <a:gd name="T67" fmla="*/ 202 h 272"/>
                  <a:gd name="T68" fmla="*/ 718 w 726"/>
                  <a:gd name="T69" fmla="*/ 226 h 272"/>
                  <a:gd name="T70" fmla="*/ 724 w 726"/>
                  <a:gd name="T71" fmla="*/ 250 h 272"/>
                  <a:gd name="T72" fmla="*/ 726 w 726"/>
                  <a:gd name="T73" fmla="*/ 272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26" h="272">
                    <a:moveTo>
                      <a:pt x="726" y="272"/>
                    </a:moveTo>
                    <a:lnTo>
                      <a:pt x="726" y="272"/>
                    </a:lnTo>
                    <a:lnTo>
                      <a:pt x="0" y="272"/>
                    </a:lnTo>
                    <a:lnTo>
                      <a:pt x="0" y="272"/>
                    </a:lnTo>
                    <a:lnTo>
                      <a:pt x="2" y="250"/>
                    </a:lnTo>
                    <a:lnTo>
                      <a:pt x="8" y="226"/>
                    </a:lnTo>
                    <a:lnTo>
                      <a:pt x="16" y="202"/>
                    </a:lnTo>
                    <a:lnTo>
                      <a:pt x="28" y="178"/>
                    </a:lnTo>
                    <a:lnTo>
                      <a:pt x="44" y="156"/>
                    </a:lnTo>
                    <a:lnTo>
                      <a:pt x="62" y="132"/>
                    </a:lnTo>
                    <a:lnTo>
                      <a:pt x="82" y="112"/>
                    </a:lnTo>
                    <a:lnTo>
                      <a:pt x="106" y="90"/>
                    </a:lnTo>
                    <a:lnTo>
                      <a:pt x="132" y="72"/>
                    </a:lnTo>
                    <a:lnTo>
                      <a:pt x="160" y="54"/>
                    </a:lnTo>
                    <a:lnTo>
                      <a:pt x="190" y="38"/>
                    </a:lnTo>
                    <a:lnTo>
                      <a:pt x="222" y="24"/>
                    </a:lnTo>
                    <a:lnTo>
                      <a:pt x="254" y="14"/>
                    </a:lnTo>
                    <a:lnTo>
                      <a:pt x="290" y="6"/>
                    </a:lnTo>
                    <a:lnTo>
                      <a:pt x="326" y="0"/>
                    </a:lnTo>
                    <a:lnTo>
                      <a:pt x="362" y="0"/>
                    </a:lnTo>
                    <a:lnTo>
                      <a:pt x="362" y="0"/>
                    </a:lnTo>
                    <a:lnTo>
                      <a:pt x="400" y="0"/>
                    </a:lnTo>
                    <a:lnTo>
                      <a:pt x="436" y="6"/>
                    </a:lnTo>
                    <a:lnTo>
                      <a:pt x="470" y="14"/>
                    </a:lnTo>
                    <a:lnTo>
                      <a:pt x="504" y="24"/>
                    </a:lnTo>
                    <a:lnTo>
                      <a:pt x="536" y="38"/>
                    </a:lnTo>
                    <a:lnTo>
                      <a:pt x="566" y="54"/>
                    </a:lnTo>
                    <a:lnTo>
                      <a:pt x="594" y="72"/>
                    </a:lnTo>
                    <a:lnTo>
                      <a:pt x="618" y="90"/>
                    </a:lnTo>
                    <a:lnTo>
                      <a:pt x="642" y="112"/>
                    </a:lnTo>
                    <a:lnTo>
                      <a:pt x="664" y="132"/>
                    </a:lnTo>
                    <a:lnTo>
                      <a:pt x="682" y="156"/>
                    </a:lnTo>
                    <a:lnTo>
                      <a:pt x="696" y="178"/>
                    </a:lnTo>
                    <a:lnTo>
                      <a:pt x="708" y="202"/>
                    </a:lnTo>
                    <a:lnTo>
                      <a:pt x="718" y="226"/>
                    </a:lnTo>
                    <a:lnTo>
                      <a:pt x="724" y="250"/>
                    </a:lnTo>
                    <a:lnTo>
                      <a:pt x="726" y="27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3" name="Freeform 1942">
                <a:extLst>
                  <a:ext uri="{FF2B5EF4-FFF2-40B4-BE49-F238E27FC236}">
                    <a16:creationId xmlns:a16="http://schemas.microsoft.com/office/drawing/2014/main" id="{610B6BD1-EDE5-4909-8C40-52C4B7EF0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0952" y="5360394"/>
                <a:ext cx="288925" cy="184150"/>
              </a:xfrm>
              <a:custGeom>
                <a:avLst/>
                <a:gdLst>
                  <a:gd name="T0" fmla="*/ 90 w 182"/>
                  <a:gd name="T1" fmla="*/ 116 h 116"/>
                  <a:gd name="T2" fmla="*/ 0 w 182"/>
                  <a:gd name="T3" fmla="*/ 0 h 116"/>
                  <a:gd name="T4" fmla="*/ 182 w 182"/>
                  <a:gd name="T5" fmla="*/ 0 h 116"/>
                  <a:gd name="T6" fmla="*/ 90 w 182"/>
                  <a:gd name="T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" h="116">
                    <a:moveTo>
                      <a:pt x="90" y="116"/>
                    </a:moveTo>
                    <a:lnTo>
                      <a:pt x="0" y="0"/>
                    </a:lnTo>
                    <a:lnTo>
                      <a:pt x="182" y="0"/>
                    </a:lnTo>
                    <a:lnTo>
                      <a:pt x="90" y="11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4" name="Freeform 1943">
                <a:extLst>
                  <a:ext uri="{FF2B5EF4-FFF2-40B4-BE49-F238E27FC236}">
                    <a16:creationId xmlns:a16="http://schemas.microsoft.com/office/drawing/2014/main" id="{F5AF0E28-D6BD-43C1-8DAF-CFD8D9FC1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7927" y="5373094"/>
                <a:ext cx="158750" cy="190500"/>
              </a:xfrm>
              <a:custGeom>
                <a:avLst/>
                <a:gdLst>
                  <a:gd name="T0" fmla="*/ 100 w 100"/>
                  <a:gd name="T1" fmla="*/ 62 h 120"/>
                  <a:gd name="T2" fmla="*/ 0 w 100"/>
                  <a:gd name="T3" fmla="*/ 120 h 120"/>
                  <a:gd name="T4" fmla="*/ 20 w 100"/>
                  <a:gd name="T5" fmla="*/ 6 h 120"/>
                  <a:gd name="T6" fmla="*/ 50 w 100"/>
                  <a:gd name="T7" fmla="*/ 0 h 120"/>
                  <a:gd name="T8" fmla="*/ 10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100" y="62"/>
                    </a:moveTo>
                    <a:lnTo>
                      <a:pt x="0" y="120"/>
                    </a:lnTo>
                    <a:lnTo>
                      <a:pt x="20" y="6"/>
                    </a:lnTo>
                    <a:lnTo>
                      <a:pt x="50" y="0"/>
                    </a:lnTo>
                    <a:lnTo>
                      <a:pt x="100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5" name="Freeform 1944">
                <a:extLst>
                  <a:ext uri="{FF2B5EF4-FFF2-40B4-BE49-F238E27FC236}">
                    <a16:creationId xmlns:a16="http://schemas.microsoft.com/office/drawing/2014/main" id="{AF4CBF90-E5B7-4A3B-8E94-C1ABE2EEB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7927" y="5373094"/>
                <a:ext cx="158750" cy="190500"/>
              </a:xfrm>
              <a:custGeom>
                <a:avLst/>
                <a:gdLst>
                  <a:gd name="T0" fmla="*/ 100 w 100"/>
                  <a:gd name="T1" fmla="*/ 62 h 120"/>
                  <a:gd name="T2" fmla="*/ 0 w 100"/>
                  <a:gd name="T3" fmla="*/ 120 h 120"/>
                  <a:gd name="T4" fmla="*/ 20 w 100"/>
                  <a:gd name="T5" fmla="*/ 6 h 120"/>
                  <a:gd name="T6" fmla="*/ 50 w 100"/>
                  <a:gd name="T7" fmla="*/ 0 h 120"/>
                  <a:gd name="T8" fmla="*/ 10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100" y="62"/>
                    </a:moveTo>
                    <a:lnTo>
                      <a:pt x="0" y="120"/>
                    </a:lnTo>
                    <a:lnTo>
                      <a:pt x="20" y="6"/>
                    </a:lnTo>
                    <a:lnTo>
                      <a:pt x="50" y="0"/>
                    </a:lnTo>
                    <a:lnTo>
                      <a:pt x="10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6" name="Freeform 1945">
                <a:extLst>
                  <a:ext uri="{FF2B5EF4-FFF2-40B4-BE49-F238E27FC236}">
                    <a16:creationId xmlns:a16="http://schemas.microsoft.com/office/drawing/2014/main" id="{53DB50A2-E4B6-4442-8CC2-2E4BDEF06C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00977" y="5373094"/>
                <a:ext cx="158750" cy="190500"/>
              </a:xfrm>
              <a:custGeom>
                <a:avLst/>
                <a:gdLst>
                  <a:gd name="T0" fmla="*/ 0 w 100"/>
                  <a:gd name="T1" fmla="*/ 62 h 120"/>
                  <a:gd name="T2" fmla="*/ 100 w 100"/>
                  <a:gd name="T3" fmla="*/ 120 h 120"/>
                  <a:gd name="T4" fmla="*/ 80 w 100"/>
                  <a:gd name="T5" fmla="*/ 6 h 120"/>
                  <a:gd name="T6" fmla="*/ 52 w 100"/>
                  <a:gd name="T7" fmla="*/ 0 h 120"/>
                  <a:gd name="T8" fmla="*/ 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0" y="62"/>
                    </a:moveTo>
                    <a:lnTo>
                      <a:pt x="100" y="120"/>
                    </a:lnTo>
                    <a:lnTo>
                      <a:pt x="80" y="6"/>
                    </a:lnTo>
                    <a:lnTo>
                      <a:pt x="52" y="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7" name="Freeform 1946">
                <a:extLst>
                  <a:ext uri="{FF2B5EF4-FFF2-40B4-BE49-F238E27FC236}">
                    <a16:creationId xmlns:a16="http://schemas.microsoft.com/office/drawing/2014/main" id="{51314B09-683F-4C30-B5D3-406152664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00977" y="5373094"/>
                <a:ext cx="158750" cy="190500"/>
              </a:xfrm>
              <a:custGeom>
                <a:avLst/>
                <a:gdLst>
                  <a:gd name="T0" fmla="*/ 0 w 100"/>
                  <a:gd name="T1" fmla="*/ 62 h 120"/>
                  <a:gd name="T2" fmla="*/ 100 w 100"/>
                  <a:gd name="T3" fmla="*/ 120 h 120"/>
                  <a:gd name="T4" fmla="*/ 80 w 100"/>
                  <a:gd name="T5" fmla="*/ 6 h 120"/>
                  <a:gd name="T6" fmla="*/ 52 w 100"/>
                  <a:gd name="T7" fmla="*/ 0 h 120"/>
                  <a:gd name="T8" fmla="*/ 0 w 100"/>
                  <a:gd name="T9" fmla="*/ 6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20">
                    <a:moveTo>
                      <a:pt x="0" y="62"/>
                    </a:moveTo>
                    <a:lnTo>
                      <a:pt x="100" y="120"/>
                    </a:lnTo>
                    <a:lnTo>
                      <a:pt x="80" y="6"/>
                    </a:lnTo>
                    <a:lnTo>
                      <a:pt x="52" y="0"/>
                    </a:lnTo>
                    <a:lnTo>
                      <a:pt x="0" y="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8" name="Freeform 1959">
                <a:extLst>
                  <a:ext uri="{FF2B5EF4-FFF2-40B4-BE49-F238E27FC236}">
                    <a16:creationId xmlns:a16="http://schemas.microsoft.com/office/drawing/2014/main" id="{7363405A-2650-4B2D-9BB4-3DB63E72CE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37477" y="5392144"/>
                <a:ext cx="22225" cy="0"/>
              </a:xfrm>
              <a:custGeom>
                <a:avLst/>
                <a:gdLst>
                  <a:gd name="T0" fmla="*/ 0 w 14"/>
                  <a:gd name="T1" fmla="*/ 0 w 14"/>
                  <a:gd name="T2" fmla="*/ 2 w 14"/>
                  <a:gd name="T3" fmla="*/ 0 w 14"/>
                  <a:gd name="T4" fmla="*/ 2 w 14"/>
                  <a:gd name="T5" fmla="*/ 2 w 14"/>
                  <a:gd name="T6" fmla="*/ 2 w 14"/>
                  <a:gd name="T7" fmla="*/ 4 w 14"/>
                  <a:gd name="T8" fmla="*/ 2 w 14"/>
                  <a:gd name="T9" fmla="*/ 4 w 14"/>
                  <a:gd name="T10" fmla="*/ 4 w 14"/>
                  <a:gd name="T11" fmla="*/ 4 w 14"/>
                  <a:gd name="T12" fmla="*/ 6 w 14"/>
                  <a:gd name="T13" fmla="*/ 4 w 14"/>
                  <a:gd name="T14" fmla="*/ 6 w 14"/>
                  <a:gd name="T15" fmla="*/ 6 w 14"/>
                  <a:gd name="T16" fmla="*/ 6 w 14"/>
                  <a:gd name="T17" fmla="*/ 6 w 14"/>
                  <a:gd name="T18" fmla="*/ 6 w 14"/>
                  <a:gd name="T19" fmla="*/ 6 w 14"/>
                  <a:gd name="T20" fmla="*/ 8 w 14"/>
                  <a:gd name="T21" fmla="*/ 8 w 14"/>
                  <a:gd name="T22" fmla="*/ 8 w 14"/>
                  <a:gd name="T23" fmla="*/ 8 w 14"/>
                  <a:gd name="T24" fmla="*/ 8 w 14"/>
                  <a:gd name="T25" fmla="*/ 10 w 14"/>
                  <a:gd name="T26" fmla="*/ 10 w 14"/>
                  <a:gd name="T27" fmla="*/ 10 w 14"/>
                  <a:gd name="T28" fmla="*/ 10 w 14"/>
                  <a:gd name="T29" fmla="*/ 10 w 14"/>
                  <a:gd name="T30" fmla="*/ 12 w 14"/>
                  <a:gd name="T31" fmla="*/ 10 w 14"/>
                  <a:gd name="T32" fmla="*/ 12 w 14"/>
                  <a:gd name="T33" fmla="*/ 12 w 14"/>
                  <a:gd name="T34" fmla="*/ 12 w 14"/>
                  <a:gd name="T35" fmla="*/ 14 w 14"/>
                  <a:gd name="T36" fmla="*/ 12 w 14"/>
                  <a:gd name="T37" fmla="*/ 14 w 14"/>
                  <a:gd name="T38" fmla="*/ 14 w 14"/>
                  <a:gd name="T39" fmla="*/ 14 w 14"/>
                  <a:gd name="T40" fmla="*/ 14 w 14"/>
                  <a:gd name="T41" fmla="*/ 14 w 1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  <a:cxn ang="0">
                    <a:pos x="T12" y="0"/>
                  </a:cxn>
                  <a:cxn ang="0">
                    <a:pos x="T13" y="0"/>
                  </a:cxn>
                  <a:cxn ang="0">
                    <a:pos x="T14" y="0"/>
                  </a:cxn>
                  <a:cxn ang="0">
                    <a:pos x="T15" y="0"/>
                  </a:cxn>
                  <a:cxn ang="0">
                    <a:pos x="T16" y="0"/>
                  </a:cxn>
                  <a:cxn ang="0">
                    <a:pos x="T17" y="0"/>
                  </a:cxn>
                  <a:cxn ang="0">
                    <a:pos x="T18" y="0"/>
                  </a:cxn>
                  <a:cxn ang="0">
                    <a:pos x="T19" y="0"/>
                  </a:cxn>
                  <a:cxn ang="0">
                    <a:pos x="T20" y="0"/>
                  </a:cxn>
                  <a:cxn ang="0">
                    <a:pos x="T21" y="0"/>
                  </a:cxn>
                  <a:cxn ang="0">
                    <a:pos x="T22" y="0"/>
                  </a:cxn>
                  <a:cxn ang="0">
                    <a:pos x="T23" y="0"/>
                  </a:cxn>
                  <a:cxn ang="0">
                    <a:pos x="T24" y="0"/>
                  </a:cxn>
                  <a:cxn ang="0">
                    <a:pos x="T25" y="0"/>
                  </a:cxn>
                  <a:cxn ang="0">
                    <a:pos x="T26" y="0"/>
                  </a:cxn>
                  <a:cxn ang="0">
                    <a:pos x="T27" y="0"/>
                  </a:cxn>
                  <a:cxn ang="0">
                    <a:pos x="T28" y="0"/>
                  </a:cxn>
                  <a:cxn ang="0">
                    <a:pos x="T29" y="0"/>
                  </a:cxn>
                  <a:cxn ang="0">
                    <a:pos x="T30" y="0"/>
                  </a:cxn>
                  <a:cxn ang="0">
                    <a:pos x="T31" y="0"/>
                  </a:cxn>
                  <a:cxn ang="0">
                    <a:pos x="T32" y="0"/>
                  </a:cxn>
                  <a:cxn ang="0">
                    <a:pos x="T33" y="0"/>
                  </a:cxn>
                  <a:cxn ang="0">
                    <a:pos x="T34" y="0"/>
                  </a:cxn>
                  <a:cxn ang="0">
                    <a:pos x="T35" y="0"/>
                  </a:cxn>
                  <a:cxn ang="0">
                    <a:pos x="T36" y="0"/>
                  </a:cxn>
                  <a:cxn ang="0">
                    <a:pos x="T37" y="0"/>
                  </a:cxn>
                  <a:cxn ang="0">
                    <a:pos x="T38" y="0"/>
                  </a:cxn>
                  <a:cxn ang="0">
                    <a:pos x="T39" y="0"/>
                  </a:cxn>
                  <a:cxn ang="0">
                    <a:pos x="T40" y="0"/>
                  </a:cxn>
                  <a:cxn ang="0">
                    <a:pos x="T41" y="0"/>
                  </a:cxn>
                </a:cxnLst>
                <a:rect l="0" t="0" r="r" b="b"/>
                <a:pathLst>
                  <a:path w="1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289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9" name="Rectangle 1960">
                <a:extLst>
                  <a:ext uri="{FF2B5EF4-FFF2-40B4-BE49-F238E27FC236}">
                    <a16:creationId xmlns:a16="http://schemas.microsoft.com/office/drawing/2014/main" id="{155B8248-FE02-4AF1-89D6-57450EA59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74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0" name="Rectangle 1961">
                <a:extLst>
                  <a:ext uri="{FF2B5EF4-FFF2-40B4-BE49-F238E27FC236}">
                    <a16:creationId xmlns:a16="http://schemas.microsoft.com/office/drawing/2014/main" id="{55E4290E-6BC8-4E7B-8D4E-431E3E68E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747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1" name="Rectangle 1962">
                <a:extLst>
                  <a:ext uri="{FF2B5EF4-FFF2-40B4-BE49-F238E27FC236}">
                    <a16:creationId xmlns:a16="http://schemas.microsoft.com/office/drawing/2014/main" id="{C5E287E5-B6ED-47C7-B03F-12E57A69DC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2" name="Rectangle 1963">
                <a:extLst>
                  <a:ext uri="{FF2B5EF4-FFF2-40B4-BE49-F238E27FC236}">
                    <a16:creationId xmlns:a16="http://schemas.microsoft.com/office/drawing/2014/main" id="{9F3E47D4-E039-43CA-8DCA-6D2963BF20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3" name="Rectangle 1964">
                <a:extLst>
                  <a:ext uri="{FF2B5EF4-FFF2-40B4-BE49-F238E27FC236}">
                    <a16:creationId xmlns:a16="http://schemas.microsoft.com/office/drawing/2014/main" id="{6990B266-FEF0-416B-A8E7-485105D6EC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4" name="Rectangle 1965">
                <a:extLst>
                  <a:ext uri="{FF2B5EF4-FFF2-40B4-BE49-F238E27FC236}">
                    <a16:creationId xmlns:a16="http://schemas.microsoft.com/office/drawing/2014/main" id="{CC6134B8-5517-4F05-99A3-C94054853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5" name="Rectangle 1966">
                <a:extLst>
                  <a:ext uri="{FF2B5EF4-FFF2-40B4-BE49-F238E27FC236}">
                    <a16:creationId xmlns:a16="http://schemas.microsoft.com/office/drawing/2014/main" id="{4518AEB4-9E5D-41A0-B93D-52D80D340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6" name="Rectangle 1967">
                <a:extLst>
                  <a:ext uri="{FF2B5EF4-FFF2-40B4-BE49-F238E27FC236}">
                    <a16:creationId xmlns:a16="http://schemas.microsoft.com/office/drawing/2014/main" id="{9699D777-52AA-477F-AEE9-E765060647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7" name="Rectangle 1968">
                <a:extLst>
                  <a:ext uri="{FF2B5EF4-FFF2-40B4-BE49-F238E27FC236}">
                    <a16:creationId xmlns:a16="http://schemas.microsoft.com/office/drawing/2014/main" id="{A52F7661-4A5D-4323-B9E7-5CFB6840A2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8" name="Rectangle 1969">
                <a:extLst>
                  <a:ext uri="{FF2B5EF4-FFF2-40B4-BE49-F238E27FC236}">
                    <a16:creationId xmlns:a16="http://schemas.microsoft.com/office/drawing/2014/main" id="{D4C8CF7F-9301-4785-B6FF-6296F672CC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9" name="Rectangle 1970">
                <a:extLst>
                  <a:ext uri="{FF2B5EF4-FFF2-40B4-BE49-F238E27FC236}">
                    <a16:creationId xmlns:a16="http://schemas.microsoft.com/office/drawing/2014/main" id="{9458FD53-A51C-478D-BE8E-720422BE0D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0" name="Rectangle 1971">
                <a:extLst>
                  <a:ext uri="{FF2B5EF4-FFF2-40B4-BE49-F238E27FC236}">
                    <a16:creationId xmlns:a16="http://schemas.microsoft.com/office/drawing/2014/main" id="{A6C74CF0-8E9B-4C0A-BC40-4041E5330F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1" name="Rectangle 1972">
                <a:extLst>
                  <a:ext uri="{FF2B5EF4-FFF2-40B4-BE49-F238E27FC236}">
                    <a16:creationId xmlns:a16="http://schemas.microsoft.com/office/drawing/2014/main" id="{6B935817-F266-4E32-9D2B-78EEF6492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2" name="Rectangle 1973">
                <a:extLst>
                  <a:ext uri="{FF2B5EF4-FFF2-40B4-BE49-F238E27FC236}">
                    <a16:creationId xmlns:a16="http://schemas.microsoft.com/office/drawing/2014/main" id="{DFC0540C-1A36-43AF-B098-3F180A3DD4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3" name="Rectangle 1974">
                <a:extLst>
                  <a:ext uri="{FF2B5EF4-FFF2-40B4-BE49-F238E27FC236}">
                    <a16:creationId xmlns:a16="http://schemas.microsoft.com/office/drawing/2014/main" id="{7B9D05EF-75B1-4214-A9BB-D4CE1A8EA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4" name="Rectangle 1975">
                <a:extLst>
                  <a:ext uri="{FF2B5EF4-FFF2-40B4-BE49-F238E27FC236}">
                    <a16:creationId xmlns:a16="http://schemas.microsoft.com/office/drawing/2014/main" id="{1A4D0BE6-9B8A-427D-ABFC-9055F69E7D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5" name="Rectangle 1976">
                <a:extLst>
                  <a:ext uri="{FF2B5EF4-FFF2-40B4-BE49-F238E27FC236}">
                    <a16:creationId xmlns:a16="http://schemas.microsoft.com/office/drawing/2014/main" id="{7065A85B-32DD-426E-8339-74EC808442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6" name="Rectangle 1980">
                <a:extLst>
                  <a:ext uri="{FF2B5EF4-FFF2-40B4-BE49-F238E27FC236}">
                    <a16:creationId xmlns:a16="http://schemas.microsoft.com/office/drawing/2014/main" id="{86B83FD1-9D19-43D6-81C5-709D588D6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74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7" name="Rectangle 1981">
                <a:extLst>
                  <a:ext uri="{FF2B5EF4-FFF2-40B4-BE49-F238E27FC236}">
                    <a16:creationId xmlns:a16="http://schemas.microsoft.com/office/drawing/2014/main" id="{1269CAFF-4097-4463-97FD-948A2C240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8" name="Rectangle 1982">
                <a:extLst>
                  <a:ext uri="{FF2B5EF4-FFF2-40B4-BE49-F238E27FC236}">
                    <a16:creationId xmlns:a16="http://schemas.microsoft.com/office/drawing/2014/main" id="{B3E5970A-3265-49B0-81D7-3F40F314D5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06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9" name="Rectangle 1983">
                <a:extLst>
                  <a:ext uri="{FF2B5EF4-FFF2-40B4-BE49-F238E27FC236}">
                    <a16:creationId xmlns:a16="http://schemas.microsoft.com/office/drawing/2014/main" id="{48BD86D9-CE92-45C7-ACCD-B0FF8E816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0" name="Rectangle 1984">
                <a:extLst>
                  <a:ext uri="{FF2B5EF4-FFF2-40B4-BE49-F238E27FC236}">
                    <a16:creationId xmlns:a16="http://schemas.microsoft.com/office/drawing/2014/main" id="{9A5AAC3D-870E-464D-B5F1-C542F8A307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38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1" name="Rectangle 1985">
                <a:extLst>
                  <a:ext uri="{FF2B5EF4-FFF2-40B4-BE49-F238E27FC236}">
                    <a16:creationId xmlns:a16="http://schemas.microsoft.com/office/drawing/2014/main" id="{FBE68CD8-C073-431D-A900-E7AA73722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2" name="Rectangle 1986">
                <a:extLst>
                  <a:ext uri="{FF2B5EF4-FFF2-40B4-BE49-F238E27FC236}">
                    <a16:creationId xmlns:a16="http://schemas.microsoft.com/office/drawing/2014/main" id="{862E3E78-3B63-4B72-ABB4-414522FF99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3" name="Rectangle 1987">
                <a:extLst>
                  <a:ext uri="{FF2B5EF4-FFF2-40B4-BE49-F238E27FC236}">
                    <a16:creationId xmlns:a16="http://schemas.microsoft.com/office/drawing/2014/main" id="{99EE29F0-42C3-4B59-830F-A5CA3569E7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7002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4" name="Rectangle 1988">
                <a:extLst>
                  <a:ext uri="{FF2B5EF4-FFF2-40B4-BE49-F238E27FC236}">
                    <a16:creationId xmlns:a16="http://schemas.microsoft.com/office/drawing/2014/main" id="{F17AD2DF-8221-4720-9EBF-B79CA98502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5" name="Rectangle 1989">
                <a:extLst>
                  <a:ext uri="{FF2B5EF4-FFF2-40B4-BE49-F238E27FC236}">
                    <a16:creationId xmlns:a16="http://schemas.microsoft.com/office/drawing/2014/main" id="{98D5C75C-B0AA-44CE-9C48-35FDEA75D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0177" y="5392144"/>
                <a:ext cx="3175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6" name="Rectangle 1990">
                <a:extLst>
                  <a:ext uri="{FF2B5EF4-FFF2-40B4-BE49-F238E27FC236}">
                    <a16:creationId xmlns:a16="http://schemas.microsoft.com/office/drawing/2014/main" id="{D3F1BF9D-AF66-4F16-9F54-6629ABDF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7" name="Rectangle 1991">
                <a:extLst>
                  <a:ext uri="{FF2B5EF4-FFF2-40B4-BE49-F238E27FC236}">
                    <a16:creationId xmlns:a16="http://schemas.microsoft.com/office/drawing/2014/main" id="{3C85E324-A752-4A9E-ACCE-9DBBC6E4F0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335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8" name="Rectangle 1992">
                <a:extLst>
                  <a:ext uri="{FF2B5EF4-FFF2-40B4-BE49-F238E27FC236}">
                    <a16:creationId xmlns:a16="http://schemas.microsoft.com/office/drawing/2014/main" id="{0E5F39CE-3832-4691-A73F-A0B029DE26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9" name="Rectangle 1993">
                <a:extLst>
                  <a:ext uri="{FF2B5EF4-FFF2-40B4-BE49-F238E27FC236}">
                    <a16:creationId xmlns:a16="http://schemas.microsoft.com/office/drawing/2014/main" id="{B72B7E04-0D2B-447C-B3C7-1CE64858E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6527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10" name="Rectangle 1994">
                <a:extLst>
                  <a:ext uri="{FF2B5EF4-FFF2-40B4-BE49-F238E27FC236}">
                    <a16:creationId xmlns:a16="http://schemas.microsoft.com/office/drawing/2014/main" id="{1137F42B-B55F-4EFB-86DF-3138D37E3D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11" name="Rectangle 1995">
                <a:extLst>
                  <a:ext uri="{FF2B5EF4-FFF2-40B4-BE49-F238E27FC236}">
                    <a16:creationId xmlns:a16="http://schemas.microsoft.com/office/drawing/2014/main" id="{0F34FB3A-D0EC-4598-98BA-646E361EB3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9702" y="5392144"/>
                <a:ext cx="1588" cy="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644" tIns="34322" rIns="68644" bIns="34322" numCol="1" anchor="t" anchorCtr="0" compatLnSpc="1">
                <a:prstTxWarp prst="textNoShape">
                  <a:avLst/>
                </a:prstTxWarp>
              </a:bodyPr>
              <a:lstStyle/>
              <a:p>
                <a:pPr defTabSz="718644"/>
                <a:endParaRPr lang="en-AU" sz="1426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12" name="Group 711">
                <a:extLst>
                  <a:ext uri="{FF2B5EF4-FFF2-40B4-BE49-F238E27FC236}">
                    <a16:creationId xmlns:a16="http://schemas.microsoft.com/office/drawing/2014/main" id="{C707878D-306C-4A2F-A7C9-1F5A10224529}"/>
                  </a:ext>
                </a:extLst>
              </p:cNvPr>
              <p:cNvGrpSpPr/>
              <p:nvPr/>
            </p:nvGrpSpPr>
            <p:grpSpPr>
              <a:xfrm>
                <a:off x="10088264" y="5451178"/>
                <a:ext cx="117475" cy="339725"/>
                <a:chOff x="11645902" y="5451178"/>
                <a:chExt cx="117475" cy="339725"/>
              </a:xfrm>
            </p:grpSpPr>
            <p:sp>
              <p:nvSpPr>
                <p:cNvPr id="713" name="Freeform 2423">
                  <a:extLst>
                    <a:ext uri="{FF2B5EF4-FFF2-40B4-BE49-F238E27FC236}">
                      <a16:creationId xmlns:a16="http://schemas.microsoft.com/office/drawing/2014/main" id="{CB799960-6755-427E-8267-F0D917825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45902" y="5451178"/>
                  <a:ext cx="117475" cy="82550"/>
                </a:xfrm>
                <a:custGeom>
                  <a:avLst/>
                  <a:gdLst>
                    <a:gd name="T0" fmla="*/ 74 w 74"/>
                    <a:gd name="T1" fmla="*/ 18 h 52"/>
                    <a:gd name="T2" fmla="*/ 74 w 74"/>
                    <a:gd name="T3" fmla="*/ 18 h 52"/>
                    <a:gd name="T4" fmla="*/ 72 w 74"/>
                    <a:gd name="T5" fmla="*/ 24 h 52"/>
                    <a:gd name="T6" fmla="*/ 70 w 74"/>
                    <a:gd name="T7" fmla="*/ 32 h 52"/>
                    <a:gd name="T8" fmla="*/ 68 w 74"/>
                    <a:gd name="T9" fmla="*/ 36 h 52"/>
                    <a:gd name="T10" fmla="*/ 62 w 74"/>
                    <a:gd name="T11" fmla="*/ 42 h 52"/>
                    <a:gd name="T12" fmla="*/ 58 w 74"/>
                    <a:gd name="T13" fmla="*/ 46 h 52"/>
                    <a:gd name="T14" fmla="*/ 50 w 74"/>
                    <a:gd name="T15" fmla="*/ 50 h 52"/>
                    <a:gd name="T16" fmla="*/ 44 w 74"/>
                    <a:gd name="T17" fmla="*/ 50 h 52"/>
                    <a:gd name="T18" fmla="*/ 36 w 74"/>
                    <a:gd name="T19" fmla="*/ 52 h 52"/>
                    <a:gd name="T20" fmla="*/ 36 w 74"/>
                    <a:gd name="T21" fmla="*/ 52 h 52"/>
                    <a:gd name="T22" fmla="*/ 28 w 74"/>
                    <a:gd name="T23" fmla="*/ 50 h 52"/>
                    <a:gd name="T24" fmla="*/ 22 w 74"/>
                    <a:gd name="T25" fmla="*/ 50 h 52"/>
                    <a:gd name="T26" fmla="*/ 16 w 74"/>
                    <a:gd name="T27" fmla="*/ 46 h 52"/>
                    <a:gd name="T28" fmla="*/ 10 w 74"/>
                    <a:gd name="T29" fmla="*/ 42 h 52"/>
                    <a:gd name="T30" fmla="*/ 6 w 74"/>
                    <a:gd name="T31" fmla="*/ 36 h 52"/>
                    <a:gd name="T32" fmla="*/ 2 w 74"/>
                    <a:gd name="T33" fmla="*/ 32 h 52"/>
                    <a:gd name="T34" fmla="*/ 0 w 74"/>
                    <a:gd name="T35" fmla="*/ 24 h 52"/>
                    <a:gd name="T36" fmla="*/ 0 w 74"/>
                    <a:gd name="T37" fmla="*/ 18 h 52"/>
                    <a:gd name="T38" fmla="*/ 0 w 74"/>
                    <a:gd name="T39" fmla="*/ 18 h 52"/>
                    <a:gd name="T40" fmla="*/ 0 w 74"/>
                    <a:gd name="T41" fmla="*/ 12 h 52"/>
                    <a:gd name="T42" fmla="*/ 2 w 74"/>
                    <a:gd name="T43" fmla="*/ 8 h 52"/>
                    <a:gd name="T44" fmla="*/ 6 w 74"/>
                    <a:gd name="T45" fmla="*/ 4 h 52"/>
                    <a:gd name="T46" fmla="*/ 10 w 74"/>
                    <a:gd name="T47" fmla="*/ 2 h 52"/>
                    <a:gd name="T48" fmla="*/ 22 w 74"/>
                    <a:gd name="T49" fmla="*/ 0 h 52"/>
                    <a:gd name="T50" fmla="*/ 36 w 74"/>
                    <a:gd name="T51" fmla="*/ 0 h 52"/>
                    <a:gd name="T52" fmla="*/ 36 w 74"/>
                    <a:gd name="T53" fmla="*/ 0 h 52"/>
                    <a:gd name="T54" fmla="*/ 50 w 74"/>
                    <a:gd name="T55" fmla="*/ 0 h 52"/>
                    <a:gd name="T56" fmla="*/ 62 w 74"/>
                    <a:gd name="T57" fmla="*/ 2 h 52"/>
                    <a:gd name="T58" fmla="*/ 68 w 74"/>
                    <a:gd name="T59" fmla="*/ 4 h 52"/>
                    <a:gd name="T60" fmla="*/ 70 w 74"/>
                    <a:gd name="T61" fmla="*/ 8 h 52"/>
                    <a:gd name="T62" fmla="*/ 72 w 74"/>
                    <a:gd name="T63" fmla="*/ 12 h 52"/>
                    <a:gd name="T64" fmla="*/ 74 w 74"/>
                    <a:gd name="T65" fmla="*/ 18 h 52"/>
                    <a:gd name="T66" fmla="*/ 74 w 74"/>
                    <a:gd name="T67" fmla="*/ 1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4" h="52">
                      <a:moveTo>
                        <a:pt x="74" y="18"/>
                      </a:moveTo>
                      <a:lnTo>
                        <a:pt x="74" y="18"/>
                      </a:lnTo>
                      <a:lnTo>
                        <a:pt x="72" y="24"/>
                      </a:lnTo>
                      <a:lnTo>
                        <a:pt x="70" y="32"/>
                      </a:lnTo>
                      <a:lnTo>
                        <a:pt x="68" y="36"/>
                      </a:lnTo>
                      <a:lnTo>
                        <a:pt x="62" y="42"/>
                      </a:lnTo>
                      <a:lnTo>
                        <a:pt x="58" y="46"/>
                      </a:lnTo>
                      <a:lnTo>
                        <a:pt x="50" y="50"/>
                      </a:lnTo>
                      <a:lnTo>
                        <a:pt x="44" y="50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28" y="50"/>
                      </a:lnTo>
                      <a:lnTo>
                        <a:pt x="22" y="50"/>
                      </a:lnTo>
                      <a:lnTo>
                        <a:pt x="16" y="46"/>
                      </a:lnTo>
                      <a:lnTo>
                        <a:pt x="10" y="42"/>
                      </a:lnTo>
                      <a:lnTo>
                        <a:pt x="6" y="36"/>
                      </a:lnTo>
                      <a:lnTo>
                        <a:pt x="2" y="32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2" y="8"/>
                      </a:lnTo>
                      <a:lnTo>
                        <a:pt x="6" y="4"/>
                      </a:lnTo>
                      <a:lnTo>
                        <a:pt x="10" y="2"/>
                      </a:lnTo>
                      <a:lnTo>
                        <a:pt x="22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50" y="0"/>
                      </a:lnTo>
                      <a:lnTo>
                        <a:pt x="62" y="2"/>
                      </a:lnTo>
                      <a:lnTo>
                        <a:pt x="68" y="4"/>
                      </a:lnTo>
                      <a:lnTo>
                        <a:pt x="70" y="8"/>
                      </a:lnTo>
                      <a:lnTo>
                        <a:pt x="72" y="12"/>
                      </a:lnTo>
                      <a:lnTo>
                        <a:pt x="74" y="18"/>
                      </a:lnTo>
                      <a:lnTo>
                        <a:pt x="74" y="18"/>
                      </a:lnTo>
                      <a:close/>
                    </a:path>
                  </a:pathLst>
                </a:custGeom>
                <a:solidFill>
                  <a:srgbClr val="795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4" name="Freeform 2424">
                  <a:extLst>
                    <a:ext uri="{FF2B5EF4-FFF2-40B4-BE49-F238E27FC236}">
                      <a16:creationId xmlns:a16="http://schemas.microsoft.com/office/drawing/2014/main" id="{E7556241-8AE0-465F-AA2C-BD6BF841C9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52252" y="5492453"/>
                  <a:ext cx="104775" cy="298450"/>
                </a:xfrm>
                <a:custGeom>
                  <a:avLst/>
                  <a:gdLst>
                    <a:gd name="T0" fmla="*/ 66 w 66"/>
                    <a:gd name="T1" fmla="*/ 188 h 188"/>
                    <a:gd name="T2" fmla="*/ 0 w 66"/>
                    <a:gd name="T3" fmla="*/ 188 h 188"/>
                    <a:gd name="T4" fmla="*/ 16 w 66"/>
                    <a:gd name="T5" fmla="*/ 0 h 188"/>
                    <a:gd name="T6" fmla="*/ 50 w 66"/>
                    <a:gd name="T7" fmla="*/ 0 h 188"/>
                    <a:gd name="T8" fmla="*/ 66 w 66"/>
                    <a:gd name="T9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188">
                      <a:moveTo>
                        <a:pt x="66" y="188"/>
                      </a:moveTo>
                      <a:lnTo>
                        <a:pt x="0" y="188"/>
                      </a:lnTo>
                      <a:lnTo>
                        <a:pt x="16" y="0"/>
                      </a:lnTo>
                      <a:lnTo>
                        <a:pt x="50" y="0"/>
                      </a:lnTo>
                      <a:lnTo>
                        <a:pt x="66" y="188"/>
                      </a:lnTo>
                      <a:close/>
                    </a:path>
                  </a:pathLst>
                </a:custGeom>
                <a:solidFill>
                  <a:srgbClr val="795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5" name="Freeform 2425">
                  <a:extLst>
                    <a:ext uri="{FF2B5EF4-FFF2-40B4-BE49-F238E27FC236}">
                      <a16:creationId xmlns:a16="http://schemas.microsoft.com/office/drawing/2014/main" id="{5AD8CD8B-2303-47A7-BAEB-07E845CC4C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8127" y="5536903"/>
                  <a:ext cx="69850" cy="73025"/>
                </a:xfrm>
                <a:custGeom>
                  <a:avLst/>
                  <a:gdLst>
                    <a:gd name="T0" fmla="*/ 0 w 44"/>
                    <a:gd name="T1" fmla="*/ 46 h 46"/>
                    <a:gd name="T2" fmla="*/ 44 w 44"/>
                    <a:gd name="T3" fmla="*/ 26 h 46"/>
                    <a:gd name="T4" fmla="*/ 42 w 44"/>
                    <a:gd name="T5" fmla="*/ 0 h 46"/>
                    <a:gd name="T6" fmla="*/ 2 w 44"/>
                    <a:gd name="T7" fmla="*/ 18 h 46"/>
                    <a:gd name="T8" fmla="*/ 0 w 44"/>
                    <a:gd name="T9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6">
                      <a:moveTo>
                        <a:pt x="0" y="46"/>
                      </a:moveTo>
                      <a:lnTo>
                        <a:pt x="44" y="26"/>
                      </a:lnTo>
                      <a:lnTo>
                        <a:pt x="42" y="0"/>
                      </a:lnTo>
                      <a:lnTo>
                        <a:pt x="2" y="18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solidFill>
                  <a:srgbClr val="B1A2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6" name="Freeform 2426">
                  <a:extLst>
                    <a:ext uri="{FF2B5EF4-FFF2-40B4-BE49-F238E27FC236}">
                      <a16:creationId xmlns:a16="http://schemas.microsoft.com/office/drawing/2014/main" id="{5695A155-8D22-4D0C-8603-75F29835E5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58602" y="5622628"/>
                  <a:ext cx="85725" cy="82550"/>
                </a:xfrm>
                <a:custGeom>
                  <a:avLst/>
                  <a:gdLst>
                    <a:gd name="T0" fmla="*/ 0 w 54"/>
                    <a:gd name="T1" fmla="*/ 52 h 52"/>
                    <a:gd name="T2" fmla="*/ 54 w 54"/>
                    <a:gd name="T3" fmla="*/ 26 h 52"/>
                    <a:gd name="T4" fmla="*/ 52 w 54"/>
                    <a:gd name="T5" fmla="*/ 0 h 52"/>
                    <a:gd name="T6" fmla="*/ 2 w 54"/>
                    <a:gd name="T7" fmla="*/ 24 h 52"/>
                    <a:gd name="T8" fmla="*/ 0 w 54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" h="52">
                      <a:moveTo>
                        <a:pt x="0" y="52"/>
                      </a:moveTo>
                      <a:lnTo>
                        <a:pt x="54" y="26"/>
                      </a:lnTo>
                      <a:lnTo>
                        <a:pt x="52" y="0"/>
                      </a:lnTo>
                      <a:lnTo>
                        <a:pt x="2" y="24"/>
                      </a:lnTo>
                      <a:lnTo>
                        <a:pt x="0" y="52"/>
                      </a:lnTo>
                      <a:close/>
                    </a:path>
                  </a:pathLst>
                </a:custGeom>
                <a:solidFill>
                  <a:srgbClr val="B1A2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7" name="Freeform 2427">
                  <a:extLst>
                    <a:ext uri="{FF2B5EF4-FFF2-40B4-BE49-F238E27FC236}">
                      <a16:creationId xmlns:a16="http://schemas.microsoft.com/office/drawing/2014/main" id="{DD6D3036-18FC-4152-B257-E0AA915C74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52252" y="5711528"/>
                  <a:ext cx="101600" cy="79375"/>
                </a:xfrm>
                <a:custGeom>
                  <a:avLst/>
                  <a:gdLst>
                    <a:gd name="T0" fmla="*/ 62 w 64"/>
                    <a:gd name="T1" fmla="*/ 0 h 50"/>
                    <a:gd name="T2" fmla="*/ 2 w 64"/>
                    <a:gd name="T3" fmla="*/ 30 h 50"/>
                    <a:gd name="T4" fmla="*/ 0 w 64"/>
                    <a:gd name="T5" fmla="*/ 50 h 50"/>
                    <a:gd name="T6" fmla="*/ 14 w 64"/>
                    <a:gd name="T7" fmla="*/ 50 h 50"/>
                    <a:gd name="T8" fmla="*/ 64 w 64"/>
                    <a:gd name="T9" fmla="*/ 26 h 50"/>
                    <a:gd name="T10" fmla="*/ 62 w 64"/>
                    <a:gd name="T1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4" h="50">
                      <a:moveTo>
                        <a:pt x="62" y="0"/>
                      </a:moveTo>
                      <a:lnTo>
                        <a:pt x="2" y="30"/>
                      </a:lnTo>
                      <a:lnTo>
                        <a:pt x="0" y="50"/>
                      </a:lnTo>
                      <a:lnTo>
                        <a:pt x="14" y="50"/>
                      </a:lnTo>
                      <a:lnTo>
                        <a:pt x="64" y="26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solidFill>
                  <a:srgbClr val="B1A2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644" tIns="34322" rIns="68644" bIns="343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8644"/>
                  <a:endParaRPr lang="en-AU" sz="1426" dirty="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503555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Dx7AHKznQk.e8MYRJn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FAB09944-BB42-4563-8C5C-85254BFC6813}"/>
    </a:ext>
  </a:extLst>
</a:theme>
</file>

<file path=ppt/theme/theme2.xml><?xml version="1.0" encoding="utf-8"?>
<a:theme xmlns:a="http://schemas.openxmlformats.org/drawingml/2006/main" name="2_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DA4E5E8F-FA2D-44CC-98DD-1A55982EB66E}"/>
    </a:ext>
  </a:extLst>
</a:theme>
</file>

<file path=ppt/theme/theme3.xml><?xml version="1.0" encoding="utf-8"?>
<a:theme xmlns:a="http://schemas.openxmlformats.org/drawingml/2006/main" name="3_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0865437E-FE58-43F4-B423-4D647E145870}"/>
    </a:ext>
  </a:extLst>
</a:theme>
</file>

<file path=ppt/theme/theme4.xml><?xml version="1.0" encoding="utf-8"?>
<a:theme xmlns:a="http://schemas.openxmlformats.org/drawingml/2006/main" name="4_Navy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94912CA3-15D3-4757-BF29-24DBD0E7F890}"/>
    </a:ext>
  </a:extLst>
</a:theme>
</file>

<file path=ppt/theme/theme5.xml><?xml version="1.0" encoding="utf-8"?>
<a:theme xmlns:a="http://schemas.openxmlformats.org/drawingml/2006/main" name="5_Pin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219DD749-307F-44A4-A8CD-823BD6888CD2}"/>
    </a:ext>
  </a:extLst>
</a:theme>
</file>

<file path=ppt/theme/theme6.xml><?xml version="1.0" encoding="utf-8"?>
<a:theme xmlns:a="http://schemas.openxmlformats.org/drawingml/2006/main" name="6_Blu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49CDE5B0-B96E-4590-8D55-10D18DE35D77}"/>
    </a:ext>
  </a:extLst>
</a:theme>
</file>

<file path=ppt/theme/theme7.xml><?xml version="1.0" encoding="utf-8"?>
<a:theme xmlns:a="http://schemas.openxmlformats.org/drawingml/2006/main" name="7_Te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19-0287 - Powerpoint Template_02.pptx" id="{0BF07D53-F4DC-4897-847D-DA9E0615D256}" vid="{E14FCE9C-2AD2-44A1-B9E1-DCB6BCFD9230}"/>
    </a:ext>
  </a:extLst>
</a:theme>
</file>

<file path=ppt/theme/theme8.xml><?xml version="1.0" encoding="utf-8"?>
<a:theme xmlns:a="http://schemas.openxmlformats.org/drawingml/2006/main" name="4_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267EBA71-21F7-4875-9EC0-E2E871BD726E}" vid="{26F66D3E-6DA1-4C19-A478-1F45EE49710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E9C1DE19AFC440B4722B2589364973" ma:contentTypeVersion="14" ma:contentTypeDescription="Create a new document." ma:contentTypeScope="" ma:versionID="0caa62009d2d76e78bde52822d18dd23">
  <xsd:schema xmlns:xsd="http://www.w3.org/2001/XMLSchema" xmlns:xs="http://www.w3.org/2001/XMLSchema" xmlns:p="http://schemas.microsoft.com/office/2006/metadata/properties" xmlns:ns3="054677c5-431f-45f1-8285-0655bfd1f40a" xmlns:ns4="faf2ccbd-5117-44ad-904e-f7a4e3bbbb49" targetNamespace="http://schemas.microsoft.com/office/2006/metadata/properties" ma:root="true" ma:fieldsID="a88870b20ad66aabf4d0456bb7f965cf" ns3:_="" ns4:_="">
    <xsd:import namespace="054677c5-431f-45f1-8285-0655bfd1f40a"/>
    <xsd:import namespace="faf2ccbd-5117-44ad-904e-f7a4e3bbbb4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Locatio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4677c5-431f-45f1-8285-0655bfd1f4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2ccbd-5117-44ad-904e-f7a4e3bbbb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40848DA-00C8-4EE8-9188-5F12F8DA5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4677c5-431f-45f1-8285-0655bfd1f40a"/>
    <ds:schemaRef ds:uri="faf2ccbd-5117-44ad-904e-f7a4e3bbbb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F55A463-E88A-4765-9A1A-8834114F8F6A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dcmitype/"/>
    <ds:schemaRef ds:uri="faf2ccbd-5117-44ad-904e-f7a4e3bbbb49"/>
    <ds:schemaRef ds:uri="http://purl.org/dc/elements/1.1/"/>
    <ds:schemaRef ds:uri="http://schemas.microsoft.com/office/2006/metadata/properties"/>
    <ds:schemaRef ds:uri="http://schemas.microsoft.com/office/infopath/2007/PartnerControls"/>
    <ds:schemaRef ds:uri="054677c5-431f-45f1-8285-0655bfd1f40a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847B031-0593-4385-B3DD-91C3E65F4E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_widescreen</Template>
  <TotalTime>6089</TotalTime>
  <Words>1476</Words>
  <Application>Microsoft Office PowerPoint</Application>
  <PresentationFormat>Custom</PresentationFormat>
  <Paragraphs>264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4" baseType="lpstr">
      <vt:lpstr>Arial</vt:lpstr>
      <vt:lpstr>Arial Nova</vt:lpstr>
      <vt:lpstr>Arial Nova Cond</vt:lpstr>
      <vt:lpstr>Arial Nova Light</vt:lpstr>
      <vt:lpstr>Arial Nova narrow</vt:lpstr>
      <vt:lpstr>Avenir Next LT Pro</vt:lpstr>
      <vt:lpstr>Bahnschrift SemiCondensed</vt:lpstr>
      <vt:lpstr>Calibri</vt:lpstr>
      <vt:lpstr>Calibri Light</vt:lpstr>
      <vt:lpstr>Gill Sans</vt:lpstr>
      <vt:lpstr>Trebuchet MS</vt:lpstr>
      <vt:lpstr>1_Custom Design</vt:lpstr>
      <vt:lpstr>2_White</vt:lpstr>
      <vt:lpstr>3_White</vt:lpstr>
      <vt:lpstr>4_Navy</vt:lpstr>
      <vt:lpstr>5_Pink</vt:lpstr>
      <vt:lpstr>6_Blue</vt:lpstr>
      <vt:lpstr>7_Teal</vt:lpstr>
      <vt:lpstr>4_White</vt:lpstr>
      <vt:lpstr>think-cell Slide</vt:lpstr>
      <vt:lpstr>myGovID for Employment Service Providers</vt:lpstr>
      <vt:lpstr>Agenda</vt:lpstr>
      <vt:lpstr>MyGovID</vt:lpstr>
      <vt:lpstr>Transition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tailed plan for engagement</vt:lpstr>
      <vt:lpstr>PowerPoint Presentation</vt:lpstr>
      <vt:lpstr>PowerPoint Presentation</vt:lpstr>
      <vt:lpstr>PowerPoint Presentation</vt:lpstr>
      <vt:lpstr>UPDATE Improving Provider Experience</vt:lpstr>
      <vt:lpstr>PowerPoint Presentation</vt:lpstr>
      <vt:lpstr>PowerPoint Presentation</vt:lpstr>
      <vt:lpstr>UPDATE Right Fit for Risk Requirement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ustralian Govern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boarding Providers to myGovID for NESM</dc:title>
  <dc:creator>AHMAD,Arbab</dc:creator>
  <cp:lastModifiedBy>SABARRE,Alexis</cp:lastModifiedBy>
  <cp:revision>218</cp:revision>
  <dcterms:created xsi:type="dcterms:W3CDTF">2021-08-17T02:01:28Z</dcterms:created>
  <dcterms:modified xsi:type="dcterms:W3CDTF">2021-10-20T01:5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672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ntentTypeId">
    <vt:lpwstr>0x010100F7E9C1DE19AFC440B4722B2589364973</vt:lpwstr>
  </property>
  <property fmtid="{D5CDD505-2E9C-101B-9397-08002B2CF9AE}" pid="6" name="Department Stream">
    <vt:lpwstr>Education</vt:lpwstr>
  </property>
  <property fmtid="{D5CDD505-2E9C-101B-9397-08002B2CF9AE}" pid="7" name="TemplateUrl">
    <vt:lpwstr/>
  </property>
</Properties>
</file>